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authors.xml" ContentType="application/vnd.ms-powerpoint.author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9" r:id="rId4"/>
    <p:sldMasterId id="2147483772" r:id="rId5"/>
    <p:sldMasterId id="2147483804" r:id="rId6"/>
    <p:sldMasterId id="2147483811" r:id="rId7"/>
  </p:sldMasterIdLst>
  <p:notesMasterIdLst>
    <p:notesMasterId r:id="rId14"/>
  </p:notesMasterIdLst>
  <p:sldIdLst>
    <p:sldId id="5623" r:id="rId8"/>
    <p:sldId id="2147470793" r:id="rId9"/>
    <p:sldId id="2147470833" r:id="rId10"/>
    <p:sldId id="2147470816" r:id="rId11"/>
    <p:sldId id="2147470831" r:id="rId12"/>
    <p:sldId id="2147470794" r:id="rId13"/>
  </p:sldIdLst>
  <p:sldSz cx="12192000" cy="6858000"/>
  <p:notesSz cx="6858000" cy="9144000"/>
  <p:defaultTextStyle>
    <a:defPPr>
      <a:defRPr lang="en-US"/>
    </a:defPPr>
    <a:lvl1pPr marL="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2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4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6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8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0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2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4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60" algn="l" defTabSz="9142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2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C964D2E-C0B7-D518-BED1-975A9717F6FE}" name="Andy Tiller" initials="AT" userId="S::atiller@tmforum.org::fb0d9df4-6e43-4400-8f6d-09dcce6e1ee1" providerId="AD"/>
  <p188:author id="{40DD4662-B6CC-9FF0-AB23-BDA23912B263}" name="Nik Willetts" initials="NW" userId="S::nwilletts@tmforum.org::9e6c1e53-4cbc-405f-9d6f-56bb7b81645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y Tiller" initials="AT" lastIdx="7" clrIdx="0">
    <p:extLst>
      <p:ext uri="{19B8F6BF-5375-455C-9EA6-DF929625EA0E}">
        <p15:presenceInfo xmlns:p15="http://schemas.microsoft.com/office/powerpoint/2012/main" userId="S::atiller@tmforum.org::fb0d9df4-6e43-4400-8f6d-09dcce6e1ee1" providerId="AD"/>
      </p:ext>
    </p:extLst>
  </p:cmAuthor>
  <p:cmAuthor id="2" name="Sue Davis" initials="SD" lastIdx="4" clrIdx="1">
    <p:extLst>
      <p:ext uri="{19B8F6BF-5375-455C-9EA6-DF929625EA0E}">
        <p15:presenceInfo xmlns:p15="http://schemas.microsoft.com/office/powerpoint/2012/main" userId="S::sdavis@tmforum.org::d4bb4cab-e189-4e8b-85ef-fbdc3b3456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ED7D31"/>
    <a:srgbClr val="1A2746"/>
    <a:srgbClr val="70AD47"/>
    <a:srgbClr val="FFFFCC"/>
    <a:srgbClr val="D30C13"/>
    <a:srgbClr val="8C8C8C"/>
    <a:srgbClr val="E0121D"/>
    <a:srgbClr val="1A1A1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BC7487-63B3-4F40-8846-A72EB676B843}" v="1" dt="2022-08-31T16:35:43.0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32"/>
      </p:cViewPr>
      <p:guideLst>
        <p:guide orient="horz" pos="2160"/>
        <p:guide pos="32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y Tiller" userId="fb0d9df4-6e43-4400-8f6d-09dcce6e1ee1" providerId="ADAL" clId="{F8D5B707-4929-42CB-A5ED-F10BFA954260}"/>
    <pc:docChg chg="undo custSel addSld delSld modSld modMainMaster">
      <pc:chgData name="Andy Tiller" userId="fb0d9df4-6e43-4400-8f6d-09dcce6e1ee1" providerId="ADAL" clId="{F8D5B707-4929-42CB-A5ED-F10BFA954260}" dt="2022-08-25T11:35:00.085" v="51" actId="700"/>
      <pc:docMkLst>
        <pc:docMk/>
      </pc:docMkLst>
      <pc:sldChg chg="addSp delSp modSp mod modClrScheme chgLayout">
        <pc:chgData name="Andy Tiller" userId="fb0d9df4-6e43-4400-8f6d-09dcce6e1ee1" providerId="ADAL" clId="{F8D5B707-4929-42CB-A5ED-F10BFA954260}" dt="2022-08-25T11:35:00.085" v="51" actId="700"/>
        <pc:sldMkLst>
          <pc:docMk/>
          <pc:sldMk cId="1914322319" sldId="5623"/>
        </pc:sldMkLst>
        <pc:spChg chg="add del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2" creationId="{5BA383FF-E313-C438-B8F4-246762AD14B3}"/>
          </ac:spMkLst>
        </pc:spChg>
        <pc:spChg chg="add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3" creationId="{6639F629-1338-8D40-1DD2-400587BFBD09}"/>
          </ac:spMkLst>
        </pc:spChg>
        <pc:spChg chg="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4" creationId="{41B7D281-9AAA-C0FE-E707-123712502EDC}"/>
          </ac:spMkLst>
        </pc:spChg>
        <pc:spChg chg="del">
          <ac:chgData name="Andy Tiller" userId="fb0d9df4-6e43-4400-8f6d-09dcce6e1ee1" providerId="ADAL" clId="{F8D5B707-4929-42CB-A5ED-F10BFA954260}" dt="2022-08-25T11:31:20.406" v="40" actId="700"/>
          <ac:spMkLst>
            <pc:docMk/>
            <pc:sldMk cId="1914322319" sldId="5623"/>
            <ac:spMk id="5" creationId="{01280943-4AD9-FAC1-497F-F345C1774298}"/>
          </ac:spMkLst>
        </pc:spChg>
        <pc:spChg chg="del">
          <ac:chgData name="Andy Tiller" userId="fb0d9df4-6e43-4400-8f6d-09dcce6e1ee1" providerId="ADAL" clId="{F8D5B707-4929-42CB-A5ED-F10BFA954260}" dt="2022-08-25T11:31:20.406" v="40" actId="700"/>
          <ac:spMkLst>
            <pc:docMk/>
            <pc:sldMk cId="1914322319" sldId="5623"/>
            <ac:spMk id="6" creationId="{95A18946-87A5-6069-636F-A7756FF068EE}"/>
          </ac:spMkLst>
        </pc:spChg>
        <pc:spChg chg="del">
          <ac:chgData name="Andy Tiller" userId="fb0d9df4-6e43-4400-8f6d-09dcce6e1ee1" providerId="ADAL" clId="{F8D5B707-4929-42CB-A5ED-F10BFA954260}" dt="2022-08-25T11:31:20.406" v="40" actId="700"/>
          <ac:spMkLst>
            <pc:docMk/>
            <pc:sldMk cId="1914322319" sldId="5623"/>
            <ac:spMk id="7" creationId="{9C5FAF1B-A542-899F-9D13-A304F5079D40}"/>
          </ac:spMkLst>
        </pc:spChg>
        <pc:spChg chg="add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8" creationId="{DF085D73-9D9D-85D7-018C-F50599ACB509}"/>
          </ac:spMkLst>
        </pc:spChg>
        <pc:spChg chg="add mod ord">
          <ac:chgData name="Andy Tiller" userId="fb0d9df4-6e43-4400-8f6d-09dcce6e1ee1" providerId="ADAL" clId="{F8D5B707-4929-42CB-A5ED-F10BFA954260}" dt="2022-08-25T11:35:00.085" v="51" actId="700"/>
          <ac:spMkLst>
            <pc:docMk/>
            <pc:sldMk cId="1914322319" sldId="5623"/>
            <ac:spMk id="9" creationId="{DFCF6FBB-69E9-B585-0E53-BB96DA10BAA0}"/>
          </ac:spMkLst>
        </pc:spChg>
      </pc:sldChg>
      <pc:sldChg chg="add del">
        <pc:chgData name="Andy Tiller" userId="fb0d9df4-6e43-4400-8f6d-09dcce6e1ee1" providerId="ADAL" clId="{F8D5B707-4929-42CB-A5ED-F10BFA954260}" dt="2022-08-25T11:28:10.418" v="2"/>
        <pc:sldMkLst>
          <pc:docMk/>
          <pc:sldMk cId="2886863770" sldId="5760"/>
        </pc:sldMkLst>
      </pc:sldChg>
      <pc:sldChg chg="delSp modSp add del mod">
        <pc:chgData name="Andy Tiller" userId="fb0d9df4-6e43-4400-8f6d-09dcce6e1ee1" providerId="ADAL" clId="{F8D5B707-4929-42CB-A5ED-F10BFA954260}" dt="2022-08-25T11:32:06.131" v="42" actId="478"/>
        <pc:sldMkLst>
          <pc:docMk/>
          <pc:sldMk cId="2810856189" sldId="5763"/>
        </pc:sldMkLst>
        <pc:spChg chg="del mod">
          <ac:chgData name="Andy Tiller" userId="fb0d9df4-6e43-4400-8f6d-09dcce6e1ee1" providerId="ADAL" clId="{F8D5B707-4929-42CB-A5ED-F10BFA954260}" dt="2022-08-25T11:32:02.855" v="41" actId="478"/>
          <ac:spMkLst>
            <pc:docMk/>
            <pc:sldMk cId="2810856189" sldId="5763"/>
            <ac:spMk id="2" creationId="{6B1255A2-3F2C-4E4B-AA2B-997F6A480AAC}"/>
          </ac:spMkLst>
        </pc:spChg>
        <pc:spChg chg="del mod">
          <ac:chgData name="Andy Tiller" userId="fb0d9df4-6e43-4400-8f6d-09dcce6e1ee1" providerId="ADAL" clId="{F8D5B707-4929-42CB-A5ED-F10BFA954260}" dt="2022-08-25T11:32:06.131" v="42" actId="478"/>
          <ac:spMkLst>
            <pc:docMk/>
            <pc:sldMk cId="2810856189" sldId="5763"/>
            <ac:spMk id="4" creationId="{52E7A86B-C8C2-4B76-B2D2-D27D15DC444C}"/>
          </ac:spMkLst>
        </pc:spChg>
      </pc:sldChg>
      <pc:sldChg chg="delSp new mod modClrScheme chgLayout">
        <pc:chgData name="Andy Tiller" userId="fb0d9df4-6e43-4400-8f6d-09dcce6e1ee1" providerId="ADAL" clId="{F8D5B707-4929-42CB-A5ED-F10BFA954260}" dt="2022-08-25T11:32:22.983" v="44" actId="700"/>
        <pc:sldMkLst>
          <pc:docMk/>
          <pc:sldMk cId="1406703403" sldId="2147470794"/>
        </pc:sldMkLst>
        <pc:spChg chg="del">
          <ac:chgData name="Andy Tiller" userId="fb0d9df4-6e43-4400-8f6d-09dcce6e1ee1" providerId="ADAL" clId="{F8D5B707-4929-42CB-A5ED-F10BFA954260}" dt="2022-08-25T11:32:22.983" v="44" actId="700"/>
          <ac:spMkLst>
            <pc:docMk/>
            <pc:sldMk cId="1406703403" sldId="2147470794"/>
            <ac:spMk id="2" creationId="{0C96E349-92A0-1650-87A0-BC223139BD19}"/>
          </ac:spMkLst>
        </pc:spChg>
      </pc:sldChg>
      <pc:sldMasterChg chg="delSldLayout">
        <pc:chgData name="Andy Tiller" userId="fb0d9df4-6e43-4400-8f6d-09dcce6e1ee1" providerId="ADAL" clId="{F8D5B707-4929-42CB-A5ED-F10BFA954260}" dt="2022-08-25T11:33:01.769" v="46" actId="2696"/>
        <pc:sldMasterMkLst>
          <pc:docMk/>
          <pc:sldMasterMk cId="1514625409" sldId="2147483759"/>
        </pc:sldMasterMkLst>
        <pc:sldLayoutChg chg="del">
          <pc:chgData name="Andy Tiller" userId="fb0d9df4-6e43-4400-8f6d-09dcce6e1ee1" providerId="ADAL" clId="{F8D5B707-4929-42CB-A5ED-F10BFA954260}" dt="2022-08-25T11:32:55.474" v="45" actId="2696"/>
          <pc:sldLayoutMkLst>
            <pc:docMk/>
            <pc:sldMasterMk cId="1514625409" sldId="2147483759"/>
            <pc:sldLayoutMk cId="3078015319" sldId="2147483770"/>
          </pc:sldLayoutMkLst>
        </pc:sldLayoutChg>
        <pc:sldLayoutChg chg="del">
          <pc:chgData name="Andy Tiller" userId="fb0d9df4-6e43-4400-8f6d-09dcce6e1ee1" providerId="ADAL" clId="{F8D5B707-4929-42CB-A5ED-F10BFA954260}" dt="2022-08-25T11:33:01.769" v="46" actId="2696"/>
          <pc:sldLayoutMkLst>
            <pc:docMk/>
            <pc:sldMasterMk cId="1514625409" sldId="2147483759"/>
            <pc:sldLayoutMk cId="2102369124" sldId="2147483771"/>
          </pc:sldLayoutMkLst>
        </pc:sldLayoutChg>
      </pc:sldMasterChg>
      <pc:sldMasterChg chg="addSp delSp modSp mod addSldLayout delSldLayout modSldLayout">
        <pc:chgData name="Andy Tiller" userId="fb0d9df4-6e43-4400-8f6d-09dcce6e1ee1" providerId="ADAL" clId="{F8D5B707-4929-42CB-A5ED-F10BFA954260}" dt="2022-08-25T11:33:34.947" v="50" actId="2696"/>
        <pc:sldMasterMkLst>
          <pc:docMk/>
          <pc:sldMasterMk cId="4040691477" sldId="2147483772"/>
        </pc:sldMasterMkLst>
        <pc:spChg chg="add mod">
          <ac:chgData name="Andy Tiller" userId="fb0d9df4-6e43-4400-8f6d-09dcce6e1ee1" providerId="ADAL" clId="{F8D5B707-4929-42CB-A5ED-F10BFA954260}" dt="2022-08-25T11:30:07.108" v="30"/>
          <ac:spMkLst>
            <pc:docMk/>
            <pc:sldMasterMk cId="4040691477" sldId="2147483772"/>
            <ac:spMk id="3" creationId="{D1A515E0-F62B-0E32-0754-88E9EBDD057B}"/>
          </ac:spMkLst>
        </pc:spChg>
        <pc:spChg chg="del mod">
          <ac:chgData name="Andy Tiller" userId="fb0d9df4-6e43-4400-8f6d-09dcce6e1ee1" providerId="ADAL" clId="{F8D5B707-4929-42CB-A5ED-F10BFA954260}" dt="2022-08-25T11:30:19.678" v="32" actId="478"/>
          <ac:spMkLst>
            <pc:docMk/>
            <pc:sldMasterMk cId="4040691477" sldId="2147483772"/>
            <ac:spMk id="8" creationId="{6302799F-465F-4F45-BE8F-AFE4D2988CC1}"/>
          </ac:spMkLst>
        </pc:spChg>
        <pc:spChg chg="del">
          <ac:chgData name="Andy Tiller" userId="fb0d9df4-6e43-4400-8f6d-09dcce6e1ee1" providerId="ADAL" clId="{F8D5B707-4929-42CB-A5ED-F10BFA954260}" dt="2022-08-25T11:30:06.693" v="29" actId="478"/>
          <ac:spMkLst>
            <pc:docMk/>
            <pc:sldMasterMk cId="4040691477" sldId="2147483772"/>
            <ac:spMk id="9" creationId="{EC4316B0-2D7B-465C-9724-D4EB488C2B7C}"/>
          </ac:spMkLst>
        </pc:spChg>
        <pc:sldLayoutChg chg="add del">
          <pc:chgData name="Andy Tiller" userId="fb0d9df4-6e43-4400-8f6d-09dcce6e1ee1" providerId="ADAL" clId="{F8D5B707-4929-42CB-A5ED-F10BFA954260}" dt="2022-08-25T11:30:38.650" v="34" actId="2696"/>
          <pc:sldLayoutMkLst>
            <pc:docMk/>
            <pc:sldMasterMk cId="4040691477" sldId="2147483772"/>
            <pc:sldLayoutMk cId="2557198758" sldId="2147483773"/>
          </pc:sldLayoutMkLst>
        </pc:sldLayoutChg>
        <pc:sldLayoutChg chg="del">
          <pc:chgData name="Andy Tiller" userId="fb0d9df4-6e43-4400-8f6d-09dcce6e1ee1" providerId="ADAL" clId="{F8D5B707-4929-42CB-A5ED-F10BFA954260}" dt="2022-08-25T11:28:28.342" v="3" actId="2696"/>
          <pc:sldLayoutMkLst>
            <pc:docMk/>
            <pc:sldMasterMk cId="4040691477" sldId="2147483772"/>
            <pc:sldLayoutMk cId="1557239386" sldId="2147483774"/>
          </pc:sldLayoutMkLst>
        </pc:sldLayoutChg>
        <pc:sldLayoutChg chg="del">
          <pc:chgData name="Andy Tiller" userId="fb0d9df4-6e43-4400-8f6d-09dcce6e1ee1" providerId="ADAL" clId="{F8D5B707-4929-42CB-A5ED-F10BFA954260}" dt="2022-08-25T11:28:33.407" v="4" actId="2696"/>
          <pc:sldLayoutMkLst>
            <pc:docMk/>
            <pc:sldMasterMk cId="4040691477" sldId="2147483772"/>
            <pc:sldLayoutMk cId="244171017" sldId="2147483775"/>
          </pc:sldLayoutMkLst>
        </pc:sldLayoutChg>
        <pc:sldLayoutChg chg="del">
          <pc:chgData name="Andy Tiller" userId="fb0d9df4-6e43-4400-8f6d-09dcce6e1ee1" providerId="ADAL" clId="{F8D5B707-4929-42CB-A5ED-F10BFA954260}" dt="2022-08-25T11:28:35.585" v="5" actId="2696"/>
          <pc:sldLayoutMkLst>
            <pc:docMk/>
            <pc:sldMasterMk cId="4040691477" sldId="2147483772"/>
            <pc:sldLayoutMk cId="879692397" sldId="2147483776"/>
          </pc:sldLayoutMkLst>
        </pc:sldLayoutChg>
        <pc:sldLayoutChg chg="del">
          <pc:chgData name="Andy Tiller" userId="fb0d9df4-6e43-4400-8f6d-09dcce6e1ee1" providerId="ADAL" clId="{F8D5B707-4929-42CB-A5ED-F10BFA954260}" dt="2022-08-25T11:28:36.725" v="6" actId="2696"/>
          <pc:sldLayoutMkLst>
            <pc:docMk/>
            <pc:sldMasterMk cId="4040691477" sldId="2147483772"/>
            <pc:sldLayoutMk cId="1213862634" sldId="2147483777"/>
          </pc:sldLayoutMkLst>
        </pc:sldLayoutChg>
        <pc:sldLayoutChg chg="del">
          <pc:chgData name="Andy Tiller" userId="fb0d9df4-6e43-4400-8f6d-09dcce6e1ee1" providerId="ADAL" clId="{F8D5B707-4929-42CB-A5ED-F10BFA954260}" dt="2022-08-25T11:28:38.496" v="7" actId="2696"/>
          <pc:sldLayoutMkLst>
            <pc:docMk/>
            <pc:sldMasterMk cId="4040691477" sldId="2147483772"/>
            <pc:sldLayoutMk cId="787737011" sldId="2147483778"/>
          </pc:sldLayoutMkLst>
        </pc:sldLayoutChg>
        <pc:sldLayoutChg chg="del">
          <pc:chgData name="Andy Tiller" userId="fb0d9df4-6e43-4400-8f6d-09dcce6e1ee1" providerId="ADAL" clId="{F8D5B707-4929-42CB-A5ED-F10BFA954260}" dt="2022-08-25T11:28:45.833" v="8" actId="2696"/>
          <pc:sldLayoutMkLst>
            <pc:docMk/>
            <pc:sldMasterMk cId="4040691477" sldId="2147483772"/>
            <pc:sldLayoutMk cId="2794639079" sldId="2147483780"/>
          </pc:sldLayoutMkLst>
        </pc:sldLayoutChg>
        <pc:sldLayoutChg chg="del">
          <pc:chgData name="Andy Tiller" userId="fb0d9df4-6e43-4400-8f6d-09dcce6e1ee1" providerId="ADAL" clId="{F8D5B707-4929-42CB-A5ED-F10BFA954260}" dt="2022-08-25T11:28:47.531" v="9" actId="2696"/>
          <pc:sldLayoutMkLst>
            <pc:docMk/>
            <pc:sldMasterMk cId="4040691477" sldId="2147483772"/>
            <pc:sldLayoutMk cId="1258815563" sldId="2147483781"/>
          </pc:sldLayoutMkLst>
        </pc:sldLayoutChg>
        <pc:sldLayoutChg chg="del">
          <pc:chgData name="Andy Tiller" userId="fb0d9df4-6e43-4400-8f6d-09dcce6e1ee1" providerId="ADAL" clId="{F8D5B707-4929-42CB-A5ED-F10BFA954260}" dt="2022-08-25T11:28:48.435" v="10" actId="2696"/>
          <pc:sldLayoutMkLst>
            <pc:docMk/>
            <pc:sldMasterMk cId="4040691477" sldId="2147483772"/>
            <pc:sldLayoutMk cId="84940659" sldId="2147483782"/>
          </pc:sldLayoutMkLst>
        </pc:sldLayoutChg>
        <pc:sldLayoutChg chg="del">
          <pc:chgData name="Andy Tiller" userId="fb0d9df4-6e43-4400-8f6d-09dcce6e1ee1" providerId="ADAL" clId="{F8D5B707-4929-42CB-A5ED-F10BFA954260}" dt="2022-08-25T11:28:50.124" v="11" actId="2696"/>
          <pc:sldLayoutMkLst>
            <pc:docMk/>
            <pc:sldMasterMk cId="4040691477" sldId="2147483772"/>
            <pc:sldLayoutMk cId="3571911967" sldId="2147483783"/>
          </pc:sldLayoutMkLst>
        </pc:sldLayoutChg>
        <pc:sldLayoutChg chg="del">
          <pc:chgData name="Andy Tiller" userId="fb0d9df4-6e43-4400-8f6d-09dcce6e1ee1" providerId="ADAL" clId="{F8D5B707-4929-42CB-A5ED-F10BFA954260}" dt="2022-08-25T11:28:51.043" v="12" actId="2696"/>
          <pc:sldLayoutMkLst>
            <pc:docMk/>
            <pc:sldMasterMk cId="4040691477" sldId="2147483772"/>
            <pc:sldLayoutMk cId="1598189887" sldId="2147483784"/>
          </pc:sldLayoutMkLst>
        </pc:sldLayoutChg>
        <pc:sldLayoutChg chg="del">
          <pc:chgData name="Andy Tiller" userId="fb0d9df4-6e43-4400-8f6d-09dcce6e1ee1" providerId="ADAL" clId="{F8D5B707-4929-42CB-A5ED-F10BFA954260}" dt="2022-08-25T11:28:52.868" v="13" actId="2696"/>
          <pc:sldLayoutMkLst>
            <pc:docMk/>
            <pc:sldMasterMk cId="4040691477" sldId="2147483772"/>
            <pc:sldLayoutMk cId="745482317" sldId="2147483785"/>
          </pc:sldLayoutMkLst>
        </pc:sldLayoutChg>
        <pc:sldLayoutChg chg="del">
          <pc:chgData name="Andy Tiller" userId="fb0d9df4-6e43-4400-8f6d-09dcce6e1ee1" providerId="ADAL" clId="{F8D5B707-4929-42CB-A5ED-F10BFA954260}" dt="2022-08-25T11:28:53.787" v="14" actId="2696"/>
          <pc:sldLayoutMkLst>
            <pc:docMk/>
            <pc:sldMasterMk cId="4040691477" sldId="2147483772"/>
            <pc:sldLayoutMk cId="3235564948" sldId="2147483786"/>
          </pc:sldLayoutMkLst>
        </pc:sldLayoutChg>
        <pc:sldLayoutChg chg="del">
          <pc:chgData name="Andy Tiller" userId="fb0d9df4-6e43-4400-8f6d-09dcce6e1ee1" providerId="ADAL" clId="{F8D5B707-4929-42CB-A5ED-F10BFA954260}" dt="2022-08-25T11:28:54.879" v="15" actId="2696"/>
          <pc:sldLayoutMkLst>
            <pc:docMk/>
            <pc:sldMasterMk cId="4040691477" sldId="2147483772"/>
            <pc:sldLayoutMk cId="3841643880" sldId="2147483787"/>
          </pc:sldLayoutMkLst>
        </pc:sldLayoutChg>
        <pc:sldLayoutChg chg="del">
          <pc:chgData name="Andy Tiller" userId="fb0d9df4-6e43-4400-8f6d-09dcce6e1ee1" providerId="ADAL" clId="{F8D5B707-4929-42CB-A5ED-F10BFA954260}" dt="2022-08-25T11:28:56.759" v="16" actId="2696"/>
          <pc:sldLayoutMkLst>
            <pc:docMk/>
            <pc:sldMasterMk cId="4040691477" sldId="2147483772"/>
            <pc:sldLayoutMk cId="1867399544" sldId="2147483788"/>
          </pc:sldLayoutMkLst>
        </pc:sldLayoutChg>
        <pc:sldLayoutChg chg="del">
          <pc:chgData name="Andy Tiller" userId="fb0d9df4-6e43-4400-8f6d-09dcce6e1ee1" providerId="ADAL" clId="{F8D5B707-4929-42CB-A5ED-F10BFA954260}" dt="2022-08-25T11:28:58.074" v="17" actId="2696"/>
          <pc:sldLayoutMkLst>
            <pc:docMk/>
            <pc:sldMasterMk cId="4040691477" sldId="2147483772"/>
            <pc:sldLayoutMk cId="1717344080" sldId="2147483789"/>
          </pc:sldLayoutMkLst>
        </pc:sldLayoutChg>
        <pc:sldLayoutChg chg="addSp modSp">
          <pc:chgData name="Andy Tiller" userId="fb0d9df4-6e43-4400-8f6d-09dcce6e1ee1" providerId="ADAL" clId="{F8D5B707-4929-42CB-A5ED-F10BFA954260}" dt="2022-08-25T11:30:43.201" v="35"/>
          <pc:sldLayoutMkLst>
            <pc:docMk/>
            <pc:sldMasterMk cId="4040691477" sldId="2147483772"/>
            <pc:sldLayoutMk cId="3726967670" sldId="2147483790"/>
          </pc:sldLayoutMkLst>
          <pc:spChg chg="add mod">
            <ac:chgData name="Andy Tiller" userId="fb0d9df4-6e43-4400-8f6d-09dcce6e1ee1" providerId="ADAL" clId="{F8D5B707-4929-42CB-A5ED-F10BFA954260}" dt="2022-08-25T11:30:43.201" v="35"/>
            <ac:spMkLst>
              <pc:docMk/>
              <pc:sldMasterMk cId="4040691477" sldId="2147483772"/>
              <pc:sldLayoutMk cId="3726967670" sldId="2147483790"/>
              <ac:spMk id="4" creationId="{14719F40-3A55-C5AA-2CF9-181D7F514B2B}"/>
            </ac:spMkLst>
          </pc:spChg>
        </pc:sldLayoutChg>
        <pc:sldLayoutChg chg="addSp delSp modSp">
          <pc:chgData name="Andy Tiller" userId="fb0d9df4-6e43-4400-8f6d-09dcce6e1ee1" providerId="ADAL" clId="{F8D5B707-4929-42CB-A5ED-F10BFA954260}" dt="2022-08-25T11:30:51.960" v="38"/>
          <pc:sldLayoutMkLst>
            <pc:docMk/>
            <pc:sldMasterMk cId="4040691477" sldId="2147483772"/>
            <pc:sldLayoutMk cId="2186955819" sldId="2147483791"/>
          </pc:sldLayoutMkLst>
          <pc:spChg chg="add del mod">
            <ac:chgData name="Andy Tiller" userId="fb0d9df4-6e43-4400-8f6d-09dcce6e1ee1" providerId="ADAL" clId="{F8D5B707-4929-42CB-A5ED-F10BFA954260}" dt="2022-08-25T11:30:50.565" v="37"/>
            <ac:spMkLst>
              <pc:docMk/>
              <pc:sldMasterMk cId="4040691477" sldId="2147483772"/>
              <pc:sldLayoutMk cId="2186955819" sldId="2147483791"/>
              <ac:spMk id="4" creationId="{0C523926-E70C-CE3F-C32F-EF74FBB28BF4}"/>
            </ac:spMkLst>
          </pc:spChg>
          <pc:spChg chg="add mod">
            <ac:chgData name="Andy Tiller" userId="fb0d9df4-6e43-4400-8f6d-09dcce6e1ee1" providerId="ADAL" clId="{F8D5B707-4929-42CB-A5ED-F10BFA954260}" dt="2022-08-25T11:30:51.960" v="38"/>
            <ac:spMkLst>
              <pc:docMk/>
              <pc:sldMasterMk cId="4040691477" sldId="2147483772"/>
              <pc:sldLayoutMk cId="2186955819" sldId="2147483791"/>
              <ac:spMk id="5" creationId="{2DCE3E19-A0C4-E4A6-6BDC-1AA5CE53354A}"/>
            </ac:spMkLst>
          </pc:spChg>
        </pc:sldLayoutChg>
        <pc:sldLayoutChg chg="del">
          <pc:chgData name="Andy Tiller" userId="fb0d9df4-6e43-4400-8f6d-09dcce6e1ee1" providerId="ADAL" clId="{F8D5B707-4929-42CB-A5ED-F10BFA954260}" dt="2022-08-25T11:33:34.947" v="50" actId="2696"/>
          <pc:sldLayoutMkLst>
            <pc:docMk/>
            <pc:sldMasterMk cId="4040691477" sldId="2147483772"/>
            <pc:sldLayoutMk cId="2558742079" sldId="2147483792"/>
          </pc:sldLayoutMkLst>
        </pc:sldLayoutChg>
        <pc:sldLayoutChg chg="del">
          <pc:chgData name="Andy Tiller" userId="fb0d9df4-6e43-4400-8f6d-09dcce6e1ee1" providerId="ADAL" clId="{F8D5B707-4929-42CB-A5ED-F10BFA954260}" dt="2022-08-25T11:33:32.279" v="49" actId="2696"/>
          <pc:sldLayoutMkLst>
            <pc:docMk/>
            <pc:sldMasterMk cId="4040691477" sldId="2147483772"/>
            <pc:sldLayoutMk cId="3265254886" sldId="2147483793"/>
          </pc:sldLayoutMkLst>
        </pc:sldLayoutChg>
        <pc:sldLayoutChg chg="del">
          <pc:chgData name="Andy Tiller" userId="fb0d9df4-6e43-4400-8f6d-09dcce6e1ee1" providerId="ADAL" clId="{F8D5B707-4929-42CB-A5ED-F10BFA954260}" dt="2022-08-25T11:33:30.720" v="48" actId="2696"/>
          <pc:sldLayoutMkLst>
            <pc:docMk/>
            <pc:sldMasterMk cId="4040691477" sldId="2147483772"/>
            <pc:sldLayoutMk cId="830445369" sldId="2147483794"/>
          </pc:sldLayoutMkLst>
        </pc:sldLayoutChg>
        <pc:sldLayoutChg chg="del">
          <pc:chgData name="Andy Tiller" userId="fb0d9df4-6e43-4400-8f6d-09dcce6e1ee1" providerId="ADAL" clId="{F8D5B707-4929-42CB-A5ED-F10BFA954260}" dt="2022-08-25T11:33:28.356" v="47" actId="2696"/>
          <pc:sldLayoutMkLst>
            <pc:docMk/>
            <pc:sldMasterMk cId="4040691477" sldId="2147483772"/>
            <pc:sldLayoutMk cId="3131526502" sldId="2147483795"/>
          </pc:sldLayoutMkLst>
        </pc:sldLayoutChg>
        <pc:sldLayoutChg chg="del">
          <pc:chgData name="Andy Tiller" userId="fb0d9df4-6e43-4400-8f6d-09dcce6e1ee1" providerId="ADAL" clId="{F8D5B707-4929-42CB-A5ED-F10BFA954260}" dt="2022-08-25T11:29:22.090" v="18" actId="2696"/>
          <pc:sldLayoutMkLst>
            <pc:docMk/>
            <pc:sldMasterMk cId="4040691477" sldId="2147483772"/>
            <pc:sldLayoutMk cId="1028947157" sldId="2147483796"/>
          </pc:sldLayoutMkLst>
        </pc:sldLayoutChg>
        <pc:sldLayoutChg chg="del">
          <pc:chgData name="Andy Tiller" userId="fb0d9df4-6e43-4400-8f6d-09dcce6e1ee1" providerId="ADAL" clId="{F8D5B707-4929-42CB-A5ED-F10BFA954260}" dt="2022-08-25T11:29:23.555" v="19" actId="2696"/>
          <pc:sldLayoutMkLst>
            <pc:docMk/>
            <pc:sldMasterMk cId="4040691477" sldId="2147483772"/>
            <pc:sldLayoutMk cId="408828259" sldId="2147483797"/>
          </pc:sldLayoutMkLst>
        </pc:sldLayoutChg>
        <pc:sldLayoutChg chg="del">
          <pc:chgData name="Andy Tiller" userId="fb0d9df4-6e43-4400-8f6d-09dcce6e1ee1" providerId="ADAL" clId="{F8D5B707-4929-42CB-A5ED-F10BFA954260}" dt="2022-08-25T11:29:24.384" v="20" actId="2696"/>
          <pc:sldLayoutMkLst>
            <pc:docMk/>
            <pc:sldMasterMk cId="4040691477" sldId="2147483772"/>
            <pc:sldLayoutMk cId="909104794" sldId="2147483798"/>
          </pc:sldLayoutMkLst>
        </pc:sldLayoutChg>
        <pc:sldLayoutChg chg="del">
          <pc:chgData name="Andy Tiller" userId="fb0d9df4-6e43-4400-8f6d-09dcce6e1ee1" providerId="ADAL" clId="{F8D5B707-4929-42CB-A5ED-F10BFA954260}" dt="2022-08-25T11:29:25.403" v="21" actId="2696"/>
          <pc:sldLayoutMkLst>
            <pc:docMk/>
            <pc:sldMasterMk cId="4040691477" sldId="2147483772"/>
            <pc:sldLayoutMk cId="599330044" sldId="2147483799"/>
          </pc:sldLayoutMkLst>
        </pc:sldLayoutChg>
        <pc:sldLayoutChg chg="del">
          <pc:chgData name="Andy Tiller" userId="fb0d9df4-6e43-4400-8f6d-09dcce6e1ee1" providerId="ADAL" clId="{F8D5B707-4929-42CB-A5ED-F10BFA954260}" dt="2022-08-25T11:29:26.308" v="22" actId="2696"/>
          <pc:sldLayoutMkLst>
            <pc:docMk/>
            <pc:sldMasterMk cId="4040691477" sldId="2147483772"/>
            <pc:sldLayoutMk cId="3348535155" sldId="2147483800"/>
          </pc:sldLayoutMkLst>
        </pc:sldLayoutChg>
        <pc:sldLayoutChg chg="del">
          <pc:chgData name="Andy Tiller" userId="fb0d9df4-6e43-4400-8f6d-09dcce6e1ee1" providerId="ADAL" clId="{F8D5B707-4929-42CB-A5ED-F10BFA954260}" dt="2022-08-25T11:29:27.165" v="23" actId="2696"/>
          <pc:sldLayoutMkLst>
            <pc:docMk/>
            <pc:sldMasterMk cId="4040691477" sldId="2147483772"/>
            <pc:sldLayoutMk cId="3999867688" sldId="2147483801"/>
          </pc:sldLayoutMkLst>
        </pc:sldLayoutChg>
        <pc:sldLayoutChg chg="del">
          <pc:chgData name="Andy Tiller" userId="fb0d9df4-6e43-4400-8f6d-09dcce6e1ee1" providerId="ADAL" clId="{F8D5B707-4929-42CB-A5ED-F10BFA954260}" dt="2022-08-25T11:31:01.614" v="39" actId="2696"/>
          <pc:sldLayoutMkLst>
            <pc:docMk/>
            <pc:sldMasterMk cId="4040691477" sldId="2147483772"/>
            <pc:sldLayoutMk cId="4106921790" sldId="2147483802"/>
          </pc:sldLayoutMkLst>
        </pc:sldLayoutChg>
        <pc:sldLayoutChg chg="del">
          <pc:chgData name="Andy Tiller" userId="fb0d9df4-6e43-4400-8f6d-09dcce6e1ee1" providerId="ADAL" clId="{F8D5B707-4929-42CB-A5ED-F10BFA954260}" dt="2022-08-25T11:29:34.046" v="24" actId="2696"/>
          <pc:sldLayoutMkLst>
            <pc:docMk/>
            <pc:sldMasterMk cId="4040691477" sldId="2147483772"/>
            <pc:sldLayoutMk cId="2869975607" sldId="2147483804"/>
          </pc:sldLayoutMkLst>
        </pc:sldLayoutChg>
        <pc:sldLayoutChg chg="del">
          <pc:chgData name="Andy Tiller" userId="fb0d9df4-6e43-4400-8f6d-09dcce6e1ee1" providerId="ADAL" clId="{F8D5B707-4929-42CB-A5ED-F10BFA954260}" dt="2022-08-25T11:29:35.447" v="25" actId="2696"/>
          <pc:sldLayoutMkLst>
            <pc:docMk/>
            <pc:sldMasterMk cId="4040691477" sldId="2147483772"/>
            <pc:sldLayoutMk cId="849180412" sldId="2147483805"/>
          </pc:sldLayoutMkLst>
        </pc:sldLayoutChg>
        <pc:sldLayoutChg chg="del">
          <pc:chgData name="Andy Tiller" userId="fb0d9df4-6e43-4400-8f6d-09dcce6e1ee1" providerId="ADAL" clId="{F8D5B707-4929-42CB-A5ED-F10BFA954260}" dt="2022-08-25T11:29:36.659" v="26" actId="2696"/>
          <pc:sldLayoutMkLst>
            <pc:docMk/>
            <pc:sldMasterMk cId="4040691477" sldId="2147483772"/>
            <pc:sldLayoutMk cId="619868218" sldId="2147483806"/>
          </pc:sldLayoutMkLst>
        </pc:sldLayoutChg>
        <pc:sldLayoutChg chg="del">
          <pc:chgData name="Andy Tiller" userId="fb0d9df4-6e43-4400-8f6d-09dcce6e1ee1" providerId="ADAL" clId="{F8D5B707-4929-42CB-A5ED-F10BFA954260}" dt="2022-08-25T11:29:37.579" v="27" actId="2696"/>
          <pc:sldLayoutMkLst>
            <pc:docMk/>
            <pc:sldMasterMk cId="4040691477" sldId="2147483772"/>
            <pc:sldLayoutMk cId="41912619" sldId="2147483807"/>
          </pc:sldLayoutMkLst>
        </pc:sldLayoutChg>
        <pc:sldLayoutChg chg="del">
          <pc:chgData name="Andy Tiller" userId="fb0d9df4-6e43-4400-8f6d-09dcce6e1ee1" providerId="ADAL" clId="{F8D5B707-4929-42CB-A5ED-F10BFA954260}" dt="2022-08-25T11:29:38.338" v="28" actId="2696"/>
          <pc:sldLayoutMkLst>
            <pc:docMk/>
            <pc:sldMasterMk cId="4040691477" sldId="2147483772"/>
            <pc:sldLayoutMk cId="3360724041" sldId="2147483808"/>
          </pc:sldLayoutMkLst>
        </pc:sldLayoutChg>
      </pc:sldMasterChg>
    </pc:docChg>
  </pc:docChgLst>
  <pc:docChgLst>
    <pc:chgData name="Andy Tiller" userId="fb0d9df4-6e43-4400-8f6d-09dcce6e1ee1" providerId="ADAL" clId="{81BC7487-63B3-4F40-8846-A72EB676B843}"/>
    <pc:docChg chg="addSld delSld modSld">
      <pc:chgData name="Andy Tiller" userId="fb0d9df4-6e43-4400-8f6d-09dcce6e1ee1" providerId="ADAL" clId="{81BC7487-63B3-4F40-8846-A72EB676B843}" dt="2022-08-31T16:35:45.987" v="1" actId="47"/>
      <pc:docMkLst>
        <pc:docMk/>
      </pc:docMkLst>
      <pc:sldChg chg="del">
        <pc:chgData name="Andy Tiller" userId="fb0d9df4-6e43-4400-8f6d-09dcce6e1ee1" providerId="ADAL" clId="{81BC7487-63B3-4F40-8846-A72EB676B843}" dt="2022-08-31T16:35:45.987" v="1" actId="47"/>
        <pc:sldMkLst>
          <pc:docMk/>
          <pc:sldMk cId="1367476509" sldId="2147470791"/>
        </pc:sldMkLst>
      </pc:sldChg>
      <pc:sldChg chg="add">
        <pc:chgData name="Andy Tiller" userId="fb0d9df4-6e43-4400-8f6d-09dcce6e1ee1" providerId="ADAL" clId="{81BC7487-63B3-4F40-8846-A72EB676B843}" dt="2022-08-31T16:35:43.048" v="0"/>
        <pc:sldMkLst>
          <pc:docMk/>
          <pc:sldMk cId="1916260022" sldId="214747079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2878C8-4833-42CA-916B-F6E8FA3E2029}" type="datetimeFigureOut">
              <a:rPr lang="en-US" smtClean="0"/>
              <a:t>12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DADABD-C688-46CF-9DA6-EAD5470E37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28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ADABD-C688-46CF-9DA6-EAD5470E370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266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ADABD-C688-46CF-9DA6-EAD5470E370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552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43CBA1E-3BF5-4E22-B046-1DBDB881C5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0196" y="5602270"/>
            <a:ext cx="2174684" cy="453773"/>
          </a:xfrm>
          <a:prstGeom prst="rect">
            <a:avLst/>
          </a:prstGeom>
        </p:spPr>
      </p:pic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CFE4B822-7163-4FB1-B200-81284C130CCD}"/>
              </a:ext>
            </a:extLst>
          </p:cNvPr>
          <p:cNvSpPr/>
          <p:nvPr userDrawn="1"/>
        </p:nvSpPr>
        <p:spPr>
          <a:xfrm flipH="1">
            <a:off x="749147" y="760164"/>
            <a:ext cx="7590622" cy="531013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AEEC81-7D64-4CA9-87DC-FF0D7D8D3C3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59345" y="2368504"/>
            <a:ext cx="10233891" cy="1815882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115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title line tw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C2A7DE-CBC8-453E-980E-B2088B659C9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132287" y="5154875"/>
            <a:ext cx="6086248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20000"/>
              </a:lnSpc>
              <a:buFont typeface="Arial" panose="020B0604020202020204" pitchFamily="34" charset="0"/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308F450-F524-46D8-ADA1-3DBD85E3E4A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132287" y="4852708"/>
            <a:ext cx="6086248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20000"/>
              </a:lnSpc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ED987A-AB96-405A-B8A7-9136BB7499D2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095551" y="5488462"/>
            <a:ext cx="4122984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20000"/>
              </a:lnSpc>
              <a:buFont typeface="Arial" panose="020B0604020202020204" pitchFamily="34" charset="0"/>
              <a:buNone/>
              <a:defRPr sz="11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52822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85AE9C1-2F3B-DDE4-BFB9-D2F7FBFA07E6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272362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05BAB61-E280-40FC-A6FF-A837648C74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36085" y="3405605"/>
            <a:ext cx="3852525" cy="2205431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001114D-E8B7-453A-9E0F-60CF784525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40146" y="3689090"/>
            <a:ext cx="3071441" cy="662901"/>
          </a:xfrm>
          <a:prstGeom prst="rect">
            <a:avLst/>
          </a:prstGeom>
        </p:spPr>
        <p:txBody>
          <a:bodyPr rIns="0" anchor="b">
            <a:normAutofit/>
          </a:bodyPr>
          <a:lstStyle>
            <a:lvl1pPr marL="0" indent="0" algn="l">
              <a:buNone/>
              <a:defRPr sz="12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IRSTNAME SURNAME</a:t>
            </a:r>
            <a:endParaRPr lang="en-GB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7EF4FB69-962B-455B-84B4-3C36DF8972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0146" y="4313491"/>
            <a:ext cx="3071441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2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Title, Company</a:t>
            </a:r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8BD733-D496-4549-8023-B1C4040463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401761" y="1290699"/>
            <a:ext cx="4229100" cy="2903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198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CFE4B822-7163-4FB1-B200-81284C130CCD}"/>
              </a:ext>
            </a:extLst>
          </p:cNvPr>
          <p:cNvSpPr/>
          <p:nvPr userDrawn="1"/>
        </p:nvSpPr>
        <p:spPr>
          <a:xfrm rot="5400000" flipH="1">
            <a:off x="600584" y="513000"/>
            <a:ext cx="5832000" cy="58320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AEEC81-7D64-4CA9-87DC-FF0D7D8D3C3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836869" y="1794582"/>
            <a:ext cx="8974334" cy="2654612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>
              <a:lnSpc>
                <a:spcPct val="90000"/>
              </a:lnSpc>
              <a:buNone/>
              <a:defRPr sz="5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his is the start of a new section in the presenta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7794AF5-7F6D-4082-9890-1A8B67307C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54842" y="5115230"/>
            <a:ext cx="1791397" cy="122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400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plit 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93B904-0877-41D3-8493-3FF8F1B97181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B96E2A-3BEE-4DF4-A947-3D3E3AE658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52" y="473549"/>
            <a:ext cx="5374743" cy="549275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3BBDC64-5312-4AF7-B5C8-9A2E16905A22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2A0BE9A-6957-4C18-8D2E-3AF468BA96DF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9BF730-AF07-4941-97C7-A3A58C3A8A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06344" y="267311"/>
            <a:ext cx="928537" cy="4619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719F40-3A55-C5AA-2CF9-181D7F514B2B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96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6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plit 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93B904-0877-41D3-8493-3FF8F1B97181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B96E2A-3BEE-4DF4-A947-3D3E3AE658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52" y="473549"/>
            <a:ext cx="5374743" cy="549275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3BBDC64-5312-4AF7-B5C8-9A2E16905A22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2A0BE9A-6957-4C18-8D2E-3AF468BA96DF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2D205F7-9855-48AC-8AF1-DCE947ACE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06343" y="267311"/>
            <a:ext cx="928539" cy="4619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CE3E19-A0C4-E4A6-6BDC-1AA5CE53354A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955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6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AF18F6F-69B1-4AAE-BC80-730ECDEF1E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7227" cy="6858000"/>
          </a:xfrm>
          <a:prstGeom prst="rect">
            <a:avLst/>
          </a:prstGeom>
        </p:spPr>
      </p:pic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EF026EBF-E82D-4484-B5F0-D28644D3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7227" cy="6858000"/>
          </a:xfrm>
          <a:prstGeom prst="rect">
            <a:avLst/>
          </a:prstGeom>
        </p:spPr>
      </p:pic>
      <p:grpSp>
        <p:nvGrpSpPr>
          <p:cNvPr id="2" name="Graphic 11">
            <a:extLst>
              <a:ext uri="{FF2B5EF4-FFF2-40B4-BE49-F238E27FC236}">
                <a16:creationId xmlns:a16="http://schemas.microsoft.com/office/drawing/2014/main" id="{E6358417-DB6E-4A8A-911C-B747D70F2B1D}"/>
              </a:ext>
            </a:extLst>
          </p:cNvPr>
          <p:cNvGrpSpPr/>
          <p:nvPr/>
        </p:nvGrpSpPr>
        <p:grpSpPr>
          <a:xfrm>
            <a:off x="528320" y="549274"/>
            <a:ext cx="5838227" cy="5825202"/>
            <a:chOff x="528320" y="549274"/>
            <a:chExt cx="5838227" cy="5825202"/>
          </a:xfrm>
          <a:solidFill>
            <a:srgbClr val="34AADE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591AF625-1FF3-4455-ADF3-6FEDFE0EA0B0}"/>
                </a:ext>
              </a:extLst>
            </p:cNvPr>
            <p:cNvSpPr/>
            <p:nvPr/>
          </p:nvSpPr>
          <p:spPr>
            <a:xfrm>
              <a:off x="528320" y="549274"/>
              <a:ext cx="5825336" cy="5825202"/>
            </a:xfrm>
            <a:custGeom>
              <a:avLst/>
              <a:gdLst>
                <a:gd name="connsiteX0" fmla="*/ 5499849 w 5825336"/>
                <a:gd name="connsiteY0" fmla="*/ 2585637 h 5825202"/>
                <a:gd name="connsiteX1" fmla="*/ 5236533 w 5825336"/>
                <a:gd name="connsiteY1" fmla="*/ 2162799 h 5825202"/>
                <a:gd name="connsiteX2" fmla="*/ 5132736 w 5825336"/>
                <a:gd name="connsiteY2" fmla="*/ 2272369 h 5825202"/>
                <a:gd name="connsiteX3" fmla="*/ 5132736 w 5825336"/>
                <a:gd name="connsiteY3" fmla="*/ 2585637 h 5825202"/>
                <a:gd name="connsiteX4" fmla="*/ 4840550 w 5825336"/>
                <a:gd name="connsiteY4" fmla="*/ 2585637 h 5825202"/>
                <a:gd name="connsiteX5" fmla="*/ 4840550 w 5825336"/>
                <a:gd name="connsiteY5" fmla="*/ 1182309 h 5825202"/>
                <a:gd name="connsiteX6" fmla="*/ 5132736 w 5825336"/>
                <a:gd name="connsiteY6" fmla="*/ 1182309 h 5825202"/>
                <a:gd name="connsiteX7" fmla="*/ 5132736 w 5825336"/>
                <a:gd name="connsiteY7" fmla="*/ 1930097 h 5825202"/>
                <a:gd name="connsiteX8" fmla="*/ 5474874 w 5825336"/>
                <a:gd name="connsiteY8" fmla="*/ 1555196 h 5825202"/>
                <a:gd name="connsiteX9" fmla="*/ 5824665 w 5825336"/>
                <a:gd name="connsiteY9" fmla="*/ 1555196 h 5825202"/>
                <a:gd name="connsiteX10" fmla="*/ 5432577 w 5825336"/>
                <a:gd name="connsiteY10" fmla="*/ 1960846 h 5825202"/>
                <a:gd name="connsiteX11" fmla="*/ 5825203 w 5825336"/>
                <a:gd name="connsiteY11" fmla="*/ 2565630 h 5825202"/>
                <a:gd name="connsiteX12" fmla="*/ 5825203 w 5825336"/>
                <a:gd name="connsiteY12" fmla="*/ 0 h 5825202"/>
                <a:gd name="connsiteX13" fmla="*/ 2901725 w 5825336"/>
                <a:gd name="connsiteY13" fmla="*/ 0 h 5825202"/>
                <a:gd name="connsiteX14" fmla="*/ 0 w 5825336"/>
                <a:gd name="connsiteY14" fmla="*/ 2901725 h 5825202"/>
                <a:gd name="connsiteX15" fmla="*/ 0 w 5825336"/>
                <a:gd name="connsiteY15" fmla="*/ 5825202 h 5825202"/>
                <a:gd name="connsiteX16" fmla="*/ 2919718 w 5825336"/>
                <a:gd name="connsiteY16" fmla="*/ 5825202 h 5825202"/>
                <a:gd name="connsiteX17" fmla="*/ 5825337 w 5825336"/>
                <a:gd name="connsiteY17" fmla="*/ 2919583 h 5825202"/>
                <a:gd name="connsiteX18" fmla="*/ 5825337 w 5825336"/>
                <a:gd name="connsiteY18" fmla="*/ 2585503 h 5825202"/>
                <a:gd name="connsiteX19" fmla="*/ 5499849 w 5825336"/>
                <a:gd name="connsiteY19" fmla="*/ 2585503 h 5825202"/>
                <a:gd name="connsiteX20" fmla="*/ 2597185 w 5825336"/>
                <a:gd name="connsiteY20" fmla="*/ 2285796 h 5825202"/>
                <a:gd name="connsiteX21" fmla="*/ 3012369 w 5825336"/>
                <a:gd name="connsiteY21" fmla="*/ 1957086 h 5825202"/>
                <a:gd name="connsiteX22" fmla="*/ 3264138 w 5825336"/>
                <a:gd name="connsiteY22" fmla="*/ 1999384 h 5825202"/>
                <a:gd name="connsiteX23" fmla="*/ 3264138 w 5825336"/>
                <a:gd name="connsiteY23" fmla="*/ 1982062 h 5825202"/>
                <a:gd name="connsiteX24" fmla="*/ 3043119 w 5825336"/>
                <a:gd name="connsiteY24" fmla="*/ 1793671 h 5825202"/>
                <a:gd name="connsiteX25" fmla="*/ 2758586 w 5825336"/>
                <a:gd name="connsiteY25" fmla="*/ 1849396 h 5825202"/>
                <a:gd name="connsiteX26" fmla="*/ 2685539 w 5825336"/>
                <a:gd name="connsiteY26" fmla="*/ 1626362 h 5825202"/>
                <a:gd name="connsiteX27" fmla="*/ 3085416 w 5825336"/>
                <a:gd name="connsiteY27" fmla="*/ 1543648 h 5825202"/>
                <a:gd name="connsiteX28" fmla="*/ 3433327 w 5825336"/>
                <a:gd name="connsiteY28" fmla="*/ 1658992 h 5825202"/>
                <a:gd name="connsiteX29" fmla="*/ 3544777 w 5825336"/>
                <a:gd name="connsiteY29" fmla="*/ 1987702 h 5825202"/>
                <a:gd name="connsiteX30" fmla="*/ 3544777 w 5825336"/>
                <a:gd name="connsiteY30" fmla="*/ 2585503 h 5825202"/>
                <a:gd name="connsiteX31" fmla="*/ 3262258 w 5825336"/>
                <a:gd name="connsiteY31" fmla="*/ 2585503 h 5825202"/>
                <a:gd name="connsiteX32" fmla="*/ 3262258 w 5825336"/>
                <a:gd name="connsiteY32" fmla="*/ 2474053 h 5825202"/>
                <a:gd name="connsiteX33" fmla="*/ 2950870 w 5825336"/>
                <a:gd name="connsiteY33" fmla="*/ 2604704 h 5825202"/>
                <a:gd name="connsiteX34" fmla="*/ 2597185 w 5825336"/>
                <a:gd name="connsiteY34" fmla="*/ 2289422 h 5825202"/>
                <a:gd name="connsiteX35" fmla="*/ 2597185 w 5825336"/>
                <a:gd name="connsiteY35" fmla="*/ 2285796 h 5825202"/>
                <a:gd name="connsiteX36" fmla="*/ 1399703 w 5825336"/>
                <a:gd name="connsiteY36" fmla="*/ 1805219 h 5825202"/>
                <a:gd name="connsiteX37" fmla="*/ 1157467 w 5825336"/>
                <a:gd name="connsiteY37" fmla="*/ 1805219 h 5825202"/>
                <a:gd name="connsiteX38" fmla="*/ 1157467 w 5825336"/>
                <a:gd name="connsiteY38" fmla="*/ 2245379 h 5825202"/>
                <a:gd name="connsiteX39" fmla="*/ 1251730 w 5825336"/>
                <a:gd name="connsiteY39" fmla="*/ 2345281 h 5825202"/>
                <a:gd name="connsiteX40" fmla="*/ 1395943 w 5825336"/>
                <a:gd name="connsiteY40" fmla="*/ 2308758 h 5825202"/>
                <a:gd name="connsiteX41" fmla="*/ 1395943 w 5825336"/>
                <a:gd name="connsiteY41" fmla="*/ 2543340 h 5825202"/>
                <a:gd name="connsiteX42" fmla="*/ 1165255 w 5825336"/>
                <a:gd name="connsiteY42" fmla="*/ 2602959 h 5825202"/>
                <a:gd name="connsiteX43" fmla="*/ 865415 w 5825336"/>
                <a:gd name="connsiteY43" fmla="*/ 2293450 h 5825202"/>
                <a:gd name="connsiteX44" fmla="*/ 865415 w 5825336"/>
                <a:gd name="connsiteY44" fmla="*/ 1805219 h 5825202"/>
                <a:gd name="connsiteX45" fmla="*/ 742417 w 5825336"/>
                <a:gd name="connsiteY45" fmla="*/ 1805219 h 5825202"/>
                <a:gd name="connsiteX46" fmla="*/ 742417 w 5825336"/>
                <a:gd name="connsiteY46" fmla="*/ 1555330 h 5825202"/>
                <a:gd name="connsiteX47" fmla="*/ 865415 w 5825336"/>
                <a:gd name="connsiteY47" fmla="*/ 1555330 h 5825202"/>
                <a:gd name="connsiteX48" fmla="*/ 865415 w 5825336"/>
                <a:gd name="connsiteY48" fmla="*/ 1291878 h 5825202"/>
                <a:gd name="connsiteX49" fmla="*/ 1157467 w 5825336"/>
                <a:gd name="connsiteY49" fmla="*/ 1291878 h 5825202"/>
                <a:gd name="connsiteX50" fmla="*/ 1157467 w 5825336"/>
                <a:gd name="connsiteY50" fmla="*/ 1555196 h 5825202"/>
                <a:gd name="connsiteX51" fmla="*/ 1399703 w 5825336"/>
                <a:gd name="connsiteY51" fmla="*/ 1555196 h 5825202"/>
                <a:gd name="connsiteX52" fmla="*/ 1399703 w 5825336"/>
                <a:gd name="connsiteY52" fmla="*/ 1805219 h 5825202"/>
                <a:gd name="connsiteX53" fmla="*/ 1830329 w 5825336"/>
                <a:gd name="connsiteY53" fmla="*/ 2010931 h 5825202"/>
                <a:gd name="connsiteX54" fmla="*/ 1830329 w 5825336"/>
                <a:gd name="connsiteY54" fmla="*/ 2585637 h 5825202"/>
                <a:gd name="connsiteX55" fmla="*/ 1538142 w 5825336"/>
                <a:gd name="connsiteY55" fmla="*/ 2585637 h 5825202"/>
                <a:gd name="connsiteX56" fmla="*/ 1538142 w 5825336"/>
                <a:gd name="connsiteY56" fmla="*/ 1182309 h 5825202"/>
                <a:gd name="connsiteX57" fmla="*/ 1830329 w 5825336"/>
                <a:gd name="connsiteY57" fmla="*/ 1182309 h 5825202"/>
                <a:gd name="connsiteX58" fmla="*/ 1830329 w 5825336"/>
                <a:gd name="connsiteY58" fmla="*/ 1701289 h 5825202"/>
                <a:gd name="connsiteX59" fmla="*/ 2132184 w 5825336"/>
                <a:gd name="connsiteY59" fmla="*/ 1535994 h 5825202"/>
                <a:gd name="connsiteX60" fmla="*/ 2481975 w 5825336"/>
                <a:gd name="connsiteY60" fmla="*/ 1918549 h 5825202"/>
                <a:gd name="connsiteX61" fmla="*/ 2481975 w 5825336"/>
                <a:gd name="connsiteY61" fmla="*/ 2585637 h 5825202"/>
                <a:gd name="connsiteX62" fmla="*/ 2189789 w 5825336"/>
                <a:gd name="connsiteY62" fmla="*/ 2585637 h 5825202"/>
                <a:gd name="connsiteX63" fmla="*/ 2189789 w 5825336"/>
                <a:gd name="connsiteY63" fmla="*/ 2010931 h 5825202"/>
                <a:gd name="connsiteX64" fmla="*/ 2012946 w 5825336"/>
                <a:gd name="connsiteY64" fmla="*/ 1801459 h 5825202"/>
                <a:gd name="connsiteX65" fmla="*/ 1830329 w 5825336"/>
                <a:gd name="connsiteY65" fmla="*/ 2010931 h 5825202"/>
                <a:gd name="connsiteX66" fmla="*/ 2561601 w 5825336"/>
                <a:gd name="connsiteY66" fmla="*/ 3706178 h 5825202"/>
                <a:gd name="connsiteX67" fmla="*/ 2223224 w 5825336"/>
                <a:gd name="connsiteY67" fmla="*/ 3994471 h 5825202"/>
                <a:gd name="connsiteX68" fmla="*/ 1963666 w 5825336"/>
                <a:gd name="connsiteY68" fmla="*/ 3923304 h 5825202"/>
                <a:gd name="connsiteX69" fmla="*/ 2061688 w 5825336"/>
                <a:gd name="connsiteY69" fmla="*/ 3711817 h 5825202"/>
                <a:gd name="connsiteX70" fmla="*/ 2186700 w 5825336"/>
                <a:gd name="connsiteY70" fmla="*/ 3752235 h 5825202"/>
                <a:gd name="connsiteX71" fmla="*/ 2288616 w 5825336"/>
                <a:gd name="connsiteY71" fmla="*/ 3684962 h 5825202"/>
                <a:gd name="connsiteX72" fmla="*/ 1884980 w 5825336"/>
                <a:gd name="connsiteY72" fmla="*/ 2650761 h 5825202"/>
                <a:gd name="connsiteX73" fmla="*/ 2194488 w 5825336"/>
                <a:gd name="connsiteY73" fmla="*/ 2650761 h 5825202"/>
                <a:gd name="connsiteX74" fmla="*/ 2429070 w 5825336"/>
                <a:gd name="connsiteY74" fmla="*/ 3352358 h 5825202"/>
                <a:gd name="connsiteX75" fmla="*/ 2653984 w 5825336"/>
                <a:gd name="connsiteY75" fmla="*/ 2650761 h 5825202"/>
                <a:gd name="connsiteX76" fmla="*/ 2957718 w 5825336"/>
                <a:gd name="connsiteY76" fmla="*/ 2650761 h 5825202"/>
                <a:gd name="connsiteX77" fmla="*/ 2561601 w 5825336"/>
                <a:gd name="connsiteY77" fmla="*/ 3706178 h 5825202"/>
                <a:gd name="connsiteX78" fmla="*/ 4061072 w 5825336"/>
                <a:gd name="connsiteY78" fmla="*/ 3167862 h 5825202"/>
                <a:gd name="connsiteX79" fmla="*/ 3501674 w 5825336"/>
                <a:gd name="connsiteY79" fmla="*/ 3704163 h 5825202"/>
                <a:gd name="connsiteX80" fmla="*/ 2946171 w 5825336"/>
                <a:gd name="connsiteY80" fmla="*/ 3171756 h 5825202"/>
                <a:gd name="connsiteX81" fmla="*/ 2946171 w 5825336"/>
                <a:gd name="connsiteY81" fmla="*/ 3167862 h 5825202"/>
                <a:gd name="connsiteX82" fmla="*/ 3505568 w 5825336"/>
                <a:gd name="connsiteY82" fmla="*/ 2631559 h 5825202"/>
                <a:gd name="connsiteX83" fmla="*/ 4061072 w 5825336"/>
                <a:gd name="connsiteY83" fmla="*/ 3163968 h 5825202"/>
                <a:gd name="connsiteX84" fmla="*/ 4061072 w 5825336"/>
                <a:gd name="connsiteY84" fmla="*/ 3167862 h 5825202"/>
                <a:gd name="connsiteX85" fmla="*/ 4012061 w 5825336"/>
                <a:gd name="connsiteY85" fmla="*/ 2010931 h 5825202"/>
                <a:gd name="connsiteX86" fmla="*/ 4012061 w 5825336"/>
                <a:gd name="connsiteY86" fmla="*/ 2585637 h 5825202"/>
                <a:gd name="connsiteX87" fmla="*/ 3719874 w 5825336"/>
                <a:gd name="connsiteY87" fmla="*/ 2585637 h 5825202"/>
                <a:gd name="connsiteX88" fmla="*/ 3719874 w 5825336"/>
                <a:gd name="connsiteY88" fmla="*/ 1555330 h 5825202"/>
                <a:gd name="connsiteX89" fmla="*/ 4012061 w 5825336"/>
                <a:gd name="connsiteY89" fmla="*/ 1555330 h 5825202"/>
                <a:gd name="connsiteX90" fmla="*/ 4012061 w 5825336"/>
                <a:gd name="connsiteY90" fmla="*/ 1701423 h 5825202"/>
                <a:gd name="connsiteX91" fmla="*/ 4313915 w 5825336"/>
                <a:gd name="connsiteY91" fmla="*/ 1536128 h 5825202"/>
                <a:gd name="connsiteX92" fmla="*/ 4663707 w 5825336"/>
                <a:gd name="connsiteY92" fmla="*/ 1918683 h 5825202"/>
                <a:gd name="connsiteX93" fmla="*/ 4663707 w 5825336"/>
                <a:gd name="connsiteY93" fmla="*/ 2585771 h 5825202"/>
                <a:gd name="connsiteX94" fmla="*/ 4371520 w 5825336"/>
                <a:gd name="connsiteY94" fmla="*/ 2585771 h 5825202"/>
                <a:gd name="connsiteX95" fmla="*/ 4371520 w 5825336"/>
                <a:gd name="connsiteY95" fmla="*/ 2011066 h 5825202"/>
                <a:gd name="connsiteX96" fmla="*/ 4194678 w 5825336"/>
                <a:gd name="connsiteY96" fmla="*/ 1801594 h 5825202"/>
                <a:gd name="connsiteX97" fmla="*/ 4012061 w 5825336"/>
                <a:gd name="connsiteY97" fmla="*/ 2010931 h 5825202"/>
                <a:gd name="connsiteX98" fmla="*/ 5131796 w 5825336"/>
                <a:gd name="connsiteY98" fmla="*/ 3681202 h 5825202"/>
                <a:gd name="connsiteX99" fmla="*/ 4839610 w 5825336"/>
                <a:gd name="connsiteY99" fmla="*/ 3681202 h 5825202"/>
                <a:gd name="connsiteX100" fmla="*/ 4839610 w 5825336"/>
                <a:gd name="connsiteY100" fmla="*/ 3535109 h 5825202"/>
                <a:gd name="connsiteX101" fmla="*/ 4537755 w 5825336"/>
                <a:gd name="connsiteY101" fmla="*/ 3700404 h 5825202"/>
                <a:gd name="connsiteX102" fmla="*/ 4187964 w 5825336"/>
                <a:gd name="connsiteY102" fmla="*/ 3317849 h 5825202"/>
                <a:gd name="connsiteX103" fmla="*/ 4187964 w 5825336"/>
                <a:gd name="connsiteY103" fmla="*/ 2650761 h 5825202"/>
                <a:gd name="connsiteX104" fmla="*/ 4480150 w 5825336"/>
                <a:gd name="connsiteY104" fmla="*/ 2650761 h 5825202"/>
                <a:gd name="connsiteX105" fmla="*/ 4480150 w 5825336"/>
                <a:gd name="connsiteY105" fmla="*/ 3225466 h 5825202"/>
                <a:gd name="connsiteX106" fmla="*/ 4656993 w 5825336"/>
                <a:gd name="connsiteY106" fmla="*/ 3434938 h 5825202"/>
                <a:gd name="connsiteX107" fmla="*/ 4839610 w 5825336"/>
                <a:gd name="connsiteY107" fmla="*/ 3225466 h 5825202"/>
                <a:gd name="connsiteX108" fmla="*/ 4839610 w 5825336"/>
                <a:gd name="connsiteY108" fmla="*/ 2650761 h 5825202"/>
                <a:gd name="connsiteX109" fmla="*/ 5131796 w 5825336"/>
                <a:gd name="connsiteY109" fmla="*/ 2650761 h 5825202"/>
                <a:gd name="connsiteX110" fmla="*/ 5131796 w 5825336"/>
                <a:gd name="connsiteY110" fmla="*/ 3681202 h 5825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5825336" h="5825202">
                  <a:moveTo>
                    <a:pt x="5499849" y="2585637"/>
                  </a:moveTo>
                  <a:lnTo>
                    <a:pt x="5236533" y="2162799"/>
                  </a:lnTo>
                  <a:lnTo>
                    <a:pt x="5132736" y="2272369"/>
                  </a:lnTo>
                  <a:lnTo>
                    <a:pt x="5132736" y="2585637"/>
                  </a:lnTo>
                  <a:lnTo>
                    <a:pt x="4840550" y="2585637"/>
                  </a:lnTo>
                  <a:lnTo>
                    <a:pt x="4840550" y="1182309"/>
                  </a:lnTo>
                  <a:lnTo>
                    <a:pt x="5132736" y="1182309"/>
                  </a:lnTo>
                  <a:lnTo>
                    <a:pt x="5132736" y="1930097"/>
                  </a:lnTo>
                  <a:lnTo>
                    <a:pt x="5474874" y="1555196"/>
                  </a:lnTo>
                  <a:lnTo>
                    <a:pt x="5824665" y="1555196"/>
                  </a:lnTo>
                  <a:lnTo>
                    <a:pt x="5432577" y="1960846"/>
                  </a:lnTo>
                  <a:lnTo>
                    <a:pt x="5825203" y="2565630"/>
                  </a:lnTo>
                  <a:lnTo>
                    <a:pt x="5825203" y="0"/>
                  </a:lnTo>
                  <a:lnTo>
                    <a:pt x="2901725" y="0"/>
                  </a:lnTo>
                  <a:cubicBezTo>
                    <a:pt x="1299129" y="0"/>
                    <a:pt x="0" y="1299129"/>
                    <a:pt x="0" y="2901725"/>
                  </a:cubicBezTo>
                  <a:lnTo>
                    <a:pt x="0" y="5825202"/>
                  </a:lnTo>
                  <a:lnTo>
                    <a:pt x="2919718" y="5825202"/>
                  </a:lnTo>
                  <a:cubicBezTo>
                    <a:pt x="4524462" y="5825202"/>
                    <a:pt x="5825337" y="4524327"/>
                    <a:pt x="5825337" y="2919583"/>
                  </a:cubicBezTo>
                  <a:lnTo>
                    <a:pt x="5825337" y="2585503"/>
                  </a:lnTo>
                  <a:lnTo>
                    <a:pt x="5499849" y="2585503"/>
                  </a:lnTo>
                  <a:close/>
                  <a:moveTo>
                    <a:pt x="2597185" y="2285796"/>
                  </a:moveTo>
                  <a:cubicBezTo>
                    <a:pt x="2597185" y="2060882"/>
                    <a:pt x="2768254" y="1957086"/>
                    <a:pt x="3012369" y="1957086"/>
                  </a:cubicBezTo>
                  <a:cubicBezTo>
                    <a:pt x="3116165" y="1957086"/>
                    <a:pt x="3191092" y="1974408"/>
                    <a:pt x="3264138" y="1999384"/>
                  </a:cubicBezTo>
                  <a:lnTo>
                    <a:pt x="3264138" y="1982062"/>
                  </a:lnTo>
                  <a:cubicBezTo>
                    <a:pt x="3264138" y="1860944"/>
                    <a:pt x="3189212" y="1793671"/>
                    <a:pt x="3043119" y="1793671"/>
                  </a:cubicBezTo>
                  <a:cubicBezTo>
                    <a:pt x="2931669" y="1793671"/>
                    <a:pt x="2852848" y="1814753"/>
                    <a:pt x="2758586" y="1849396"/>
                  </a:cubicBezTo>
                  <a:lnTo>
                    <a:pt x="2685539" y="1626362"/>
                  </a:lnTo>
                  <a:cubicBezTo>
                    <a:pt x="2799003" y="1576411"/>
                    <a:pt x="2910453" y="1543648"/>
                    <a:pt x="3085416" y="1543648"/>
                  </a:cubicBezTo>
                  <a:cubicBezTo>
                    <a:pt x="3244937" y="1543648"/>
                    <a:pt x="3360281" y="1585945"/>
                    <a:pt x="3433327" y="1658992"/>
                  </a:cubicBezTo>
                  <a:cubicBezTo>
                    <a:pt x="3510268" y="1735932"/>
                    <a:pt x="3544777" y="1849262"/>
                    <a:pt x="3544777" y="1987702"/>
                  </a:cubicBezTo>
                  <a:lnTo>
                    <a:pt x="3544777" y="2585503"/>
                  </a:lnTo>
                  <a:lnTo>
                    <a:pt x="3262258" y="2585503"/>
                  </a:lnTo>
                  <a:lnTo>
                    <a:pt x="3262258" y="2474053"/>
                  </a:lnTo>
                  <a:cubicBezTo>
                    <a:pt x="3191092" y="2552873"/>
                    <a:pt x="3093070" y="2604704"/>
                    <a:pt x="2950870" y="2604704"/>
                  </a:cubicBezTo>
                  <a:cubicBezTo>
                    <a:pt x="2756706" y="2604704"/>
                    <a:pt x="2597185" y="2493254"/>
                    <a:pt x="2597185" y="2289422"/>
                  </a:cubicBezTo>
                  <a:lnTo>
                    <a:pt x="2597185" y="2285796"/>
                  </a:lnTo>
                  <a:close/>
                  <a:moveTo>
                    <a:pt x="1399703" y="1805219"/>
                  </a:moveTo>
                  <a:lnTo>
                    <a:pt x="1157467" y="1805219"/>
                  </a:lnTo>
                  <a:lnTo>
                    <a:pt x="1157467" y="2245379"/>
                  </a:lnTo>
                  <a:cubicBezTo>
                    <a:pt x="1157467" y="2312652"/>
                    <a:pt x="1186337" y="2345281"/>
                    <a:pt x="1251730" y="2345281"/>
                  </a:cubicBezTo>
                  <a:cubicBezTo>
                    <a:pt x="1305575" y="2345281"/>
                    <a:pt x="1353646" y="2331853"/>
                    <a:pt x="1395943" y="2308758"/>
                  </a:cubicBezTo>
                  <a:lnTo>
                    <a:pt x="1395943" y="2543340"/>
                  </a:lnTo>
                  <a:cubicBezTo>
                    <a:pt x="1334444" y="2579863"/>
                    <a:pt x="1263278" y="2602959"/>
                    <a:pt x="1165255" y="2602959"/>
                  </a:cubicBezTo>
                  <a:cubicBezTo>
                    <a:pt x="986533" y="2602959"/>
                    <a:pt x="865415" y="2531792"/>
                    <a:pt x="865415" y="2293450"/>
                  </a:cubicBezTo>
                  <a:lnTo>
                    <a:pt x="865415" y="1805219"/>
                  </a:lnTo>
                  <a:lnTo>
                    <a:pt x="742417" y="1805219"/>
                  </a:lnTo>
                  <a:lnTo>
                    <a:pt x="742417" y="1555330"/>
                  </a:lnTo>
                  <a:lnTo>
                    <a:pt x="865415" y="1555330"/>
                  </a:lnTo>
                  <a:lnTo>
                    <a:pt x="865415" y="1291878"/>
                  </a:lnTo>
                  <a:lnTo>
                    <a:pt x="1157467" y="1291878"/>
                  </a:lnTo>
                  <a:lnTo>
                    <a:pt x="1157467" y="1555196"/>
                  </a:lnTo>
                  <a:lnTo>
                    <a:pt x="1399703" y="1555196"/>
                  </a:lnTo>
                  <a:lnTo>
                    <a:pt x="1399703" y="1805219"/>
                  </a:lnTo>
                  <a:close/>
                  <a:moveTo>
                    <a:pt x="1830329" y="2010931"/>
                  </a:moveTo>
                  <a:lnTo>
                    <a:pt x="1830329" y="2585637"/>
                  </a:lnTo>
                  <a:lnTo>
                    <a:pt x="1538142" y="2585637"/>
                  </a:lnTo>
                  <a:lnTo>
                    <a:pt x="1538142" y="1182309"/>
                  </a:lnTo>
                  <a:lnTo>
                    <a:pt x="1830329" y="1182309"/>
                  </a:lnTo>
                  <a:lnTo>
                    <a:pt x="1830329" y="1701289"/>
                  </a:lnTo>
                  <a:cubicBezTo>
                    <a:pt x="1897602" y="1614815"/>
                    <a:pt x="1984076" y="1535994"/>
                    <a:pt x="2132184" y="1535994"/>
                  </a:cubicBezTo>
                  <a:cubicBezTo>
                    <a:pt x="2353204" y="1535994"/>
                    <a:pt x="2481975" y="1682087"/>
                    <a:pt x="2481975" y="1918549"/>
                  </a:cubicBezTo>
                  <a:lnTo>
                    <a:pt x="2481975" y="2585637"/>
                  </a:lnTo>
                  <a:lnTo>
                    <a:pt x="2189789" y="2585637"/>
                  </a:lnTo>
                  <a:lnTo>
                    <a:pt x="2189789" y="2010931"/>
                  </a:lnTo>
                  <a:cubicBezTo>
                    <a:pt x="2189789" y="1872492"/>
                    <a:pt x="2124396" y="1801459"/>
                    <a:pt x="2012946" y="1801459"/>
                  </a:cubicBezTo>
                  <a:cubicBezTo>
                    <a:pt x="1901496" y="1801459"/>
                    <a:pt x="1830329" y="1872492"/>
                    <a:pt x="1830329" y="2010931"/>
                  </a:cubicBezTo>
                  <a:close/>
                  <a:moveTo>
                    <a:pt x="2561601" y="3706178"/>
                  </a:moveTo>
                  <a:cubicBezTo>
                    <a:pt x="2482781" y="3915650"/>
                    <a:pt x="2398186" y="3994471"/>
                    <a:pt x="2223224" y="3994471"/>
                  </a:cubicBezTo>
                  <a:cubicBezTo>
                    <a:pt x="2117547" y="3994471"/>
                    <a:pt x="2038727" y="3967615"/>
                    <a:pt x="1963666" y="3923304"/>
                  </a:cubicBezTo>
                  <a:lnTo>
                    <a:pt x="2061688" y="3711817"/>
                  </a:lnTo>
                  <a:cubicBezTo>
                    <a:pt x="2100091" y="3734913"/>
                    <a:pt x="2148163" y="3752235"/>
                    <a:pt x="2186700" y="3752235"/>
                  </a:cubicBezTo>
                  <a:cubicBezTo>
                    <a:pt x="2236651" y="3752235"/>
                    <a:pt x="2263641" y="3736793"/>
                    <a:pt x="2288616" y="3684962"/>
                  </a:cubicBezTo>
                  <a:lnTo>
                    <a:pt x="1884980" y="2650761"/>
                  </a:lnTo>
                  <a:lnTo>
                    <a:pt x="2194488" y="2650761"/>
                  </a:lnTo>
                  <a:lnTo>
                    <a:pt x="2429070" y="3352358"/>
                  </a:lnTo>
                  <a:lnTo>
                    <a:pt x="2653984" y="2650761"/>
                  </a:lnTo>
                  <a:lnTo>
                    <a:pt x="2957718" y="2650761"/>
                  </a:lnTo>
                  <a:lnTo>
                    <a:pt x="2561601" y="3706178"/>
                  </a:lnTo>
                  <a:close/>
                  <a:moveTo>
                    <a:pt x="4061072" y="3167862"/>
                  </a:moveTo>
                  <a:cubicBezTo>
                    <a:pt x="4061072" y="3463942"/>
                    <a:pt x="3822730" y="3704163"/>
                    <a:pt x="3501674" y="3704163"/>
                  </a:cubicBezTo>
                  <a:cubicBezTo>
                    <a:pt x="3182632" y="3704163"/>
                    <a:pt x="2946171" y="3467702"/>
                    <a:pt x="2946171" y="3171756"/>
                  </a:cubicBezTo>
                  <a:lnTo>
                    <a:pt x="2946171" y="3167862"/>
                  </a:lnTo>
                  <a:cubicBezTo>
                    <a:pt x="2946171" y="2871781"/>
                    <a:pt x="3184512" y="2631559"/>
                    <a:pt x="3505568" y="2631559"/>
                  </a:cubicBezTo>
                  <a:cubicBezTo>
                    <a:pt x="3824610" y="2631559"/>
                    <a:pt x="4061072" y="2868021"/>
                    <a:pt x="4061072" y="3163968"/>
                  </a:cubicBezTo>
                  <a:lnTo>
                    <a:pt x="4061072" y="3167862"/>
                  </a:lnTo>
                  <a:close/>
                  <a:moveTo>
                    <a:pt x="4012061" y="2010931"/>
                  </a:moveTo>
                  <a:lnTo>
                    <a:pt x="4012061" y="2585637"/>
                  </a:lnTo>
                  <a:lnTo>
                    <a:pt x="3719874" y="2585637"/>
                  </a:lnTo>
                  <a:lnTo>
                    <a:pt x="3719874" y="1555330"/>
                  </a:lnTo>
                  <a:lnTo>
                    <a:pt x="4012061" y="1555330"/>
                  </a:lnTo>
                  <a:lnTo>
                    <a:pt x="4012061" y="1701423"/>
                  </a:lnTo>
                  <a:cubicBezTo>
                    <a:pt x="4079333" y="1614949"/>
                    <a:pt x="4165808" y="1536128"/>
                    <a:pt x="4313915" y="1536128"/>
                  </a:cubicBezTo>
                  <a:cubicBezTo>
                    <a:pt x="4534936" y="1536128"/>
                    <a:pt x="4663707" y="1682221"/>
                    <a:pt x="4663707" y="1918683"/>
                  </a:cubicBezTo>
                  <a:lnTo>
                    <a:pt x="4663707" y="2585771"/>
                  </a:lnTo>
                  <a:lnTo>
                    <a:pt x="4371520" y="2585771"/>
                  </a:lnTo>
                  <a:lnTo>
                    <a:pt x="4371520" y="2011066"/>
                  </a:lnTo>
                  <a:cubicBezTo>
                    <a:pt x="4371520" y="1872626"/>
                    <a:pt x="4306128" y="1801594"/>
                    <a:pt x="4194678" y="1801594"/>
                  </a:cubicBezTo>
                  <a:cubicBezTo>
                    <a:pt x="4083228" y="1801594"/>
                    <a:pt x="4012061" y="1872492"/>
                    <a:pt x="4012061" y="2010931"/>
                  </a:cubicBezTo>
                  <a:close/>
                  <a:moveTo>
                    <a:pt x="5131796" y="3681202"/>
                  </a:moveTo>
                  <a:lnTo>
                    <a:pt x="4839610" y="3681202"/>
                  </a:lnTo>
                  <a:lnTo>
                    <a:pt x="4839610" y="3535109"/>
                  </a:lnTo>
                  <a:cubicBezTo>
                    <a:pt x="4772337" y="3621583"/>
                    <a:pt x="4685863" y="3700404"/>
                    <a:pt x="4537755" y="3700404"/>
                  </a:cubicBezTo>
                  <a:cubicBezTo>
                    <a:pt x="4316736" y="3700404"/>
                    <a:pt x="4187964" y="3554311"/>
                    <a:pt x="4187964" y="3317849"/>
                  </a:cubicBezTo>
                  <a:lnTo>
                    <a:pt x="4187964" y="2650761"/>
                  </a:lnTo>
                  <a:lnTo>
                    <a:pt x="4480150" y="2650761"/>
                  </a:lnTo>
                  <a:lnTo>
                    <a:pt x="4480150" y="3225466"/>
                  </a:lnTo>
                  <a:cubicBezTo>
                    <a:pt x="4480150" y="3363906"/>
                    <a:pt x="4545543" y="3434938"/>
                    <a:pt x="4656993" y="3434938"/>
                  </a:cubicBezTo>
                  <a:cubicBezTo>
                    <a:pt x="4768443" y="3434938"/>
                    <a:pt x="4839610" y="3363772"/>
                    <a:pt x="4839610" y="3225466"/>
                  </a:cubicBezTo>
                  <a:lnTo>
                    <a:pt x="4839610" y="2650761"/>
                  </a:lnTo>
                  <a:lnTo>
                    <a:pt x="5131796" y="2650761"/>
                  </a:lnTo>
                  <a:lnTo>
                    <a:pt x="5131796" y="3681202"/>
                  </a:lnTo>
                  <a:close/>
                </a:path>
              </a:pathLst>
            </a:custGeom>
            <a:solidFill>
              <a:srgbClr val="34AADE">
                <a:alpha val="94902"/>
              </a:srgbClr>
            </a:solidFill>
            <a:ln w="13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793E1A7-CEFD-4253-9A26-887F168B6855}"/>
                </a:ext>
              </a:extLst>
            </p:cNvPr>
            <p:cNvSpPr/>
            <p:nvPr/>
          </p:nvSpPr>
          <p:spPr>
            <a:xfrm>
              <a:off x="3762783" y="3432736"/>
              <a:ext cx="538316" cy="569065"/>
            </a:xfrm>
            <a:custGeom>
              <a:avLst/>
              <a:gdLst>
                <a:gd name="connsiteX0" fmla="*/ 267211 w 538316"/>
                <a:gd name="connsiteY0" fmla="*/ 0 h 569065"/>
                <a:gd name="connsiteX1" fmla="*/ 0 w 538316"/>
                <a:gd name="connsiteY1" fmla="*/ 280639 h 569065"/>
                <a:gd name="connsiteX2" fmla="*/ 0 w 538316"/>
                <a:gd name="connsiteY2" fmla="*/ 284533 h 569065"/>
                <a:gd name="connsiteX3" fmla="*/ 271105 w 538316"/>
                <a:gd name="connsiteY3" fmla="*/ 569066 h 569065"/>
                <a:gd name="connsiteX4" fmla="*/ 538316 w 538316"/>
                <a:gd name="connsiteY4" fmla="*/ 288427 h 569065"/>
                <a:gd name="connsiteX5" fmla="*/ 538316 w 538316"/>
                <a:gd name="connsiteY5" fmla="*/ 284533 h 569065"/>
                <a:gd name="connsiteX6" fmla="*/ 267211 w 538316"/>
                <a:gd name="connsiteY6" fmla="*/ 0 h 56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8316" h="569065">
                  <a:moveTo>
                    <a:pt x="267211" y="0"/>
                  </a:moveTo>
                  <a:cubicBezTo>
                    <a:pt x="99902" y="0"/>
                    <a:pt x="0" y="128772"/>
                    <a:pt x="0" y="280639"/>
                  </a:cubicBezTo>
                  <a:lnTo>
                    <a:pt x="0" y="284533"/>
                  </a:lnTo>
                  <a:cubicBezTo>
                    <a:pt x="0" y="436400"/>
                    <a:pt x="109570" y="569066"/>
                    <a:pt x="271105" y="569066"/>
                  </a:cubicBezTo>
                  <a:cubicBezTo>
                    <a:pt x="438280" y="569066"/>
                    <a:pt x="538316" y="440294"/>
                    <a:pt x="538316" y="288427"/>
                  </a:cubicBezTo>
                  <a:lnTo>
                    <a:pt x="538316" y="284533"/>
                  </a:lnTo>
                  <a:cubicBezTo>
                    <a:pt x="538182" y="132665"/>
                    <a:pt x="428612" y="0"/>
                    <a:pt x="267211" y="0"/>
                  </a:cubicBezTo>
                  <a:close/>
                </a:path>
              </a:pathLst>
            </a:custGeom>
            <a:solidFill>
              <a:srgbClr val="34AADE">
                <a:alpha val="94902"/>
              </a:srgbClr>
            </a:solidFill>
            <a:ln w="1342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E8DCE28-5354-4025-839A-9BFCA83A4336}"/>
                </a:ext>
              </a:extLst>
            </p:cNvPr>
            <p:cNvSpPr/>
            <p:nvPr/>
          </p:nvSpPr>
          <p:spPr>
            <a:xfrm>
              <a:off x="3408157" y="2681188"/>
              <a:ext cx="388328" cy="271105"/>
            </a:xfrm>
            <a:custGeom>
              <a:avLst/>
              <a:gdLst>
                <a:gd name="connsiteX0" fmla="*/ 159521 w 388328"/>
                <a:gd name="connsiteY0" fmla="*/ 271105 h 271105"/>
                <a:gd name="connsiteX1" fmla="*/ 388329 w 388328"/>
                <a:gd name="connsiteY1" fmla="*/ 90368 h 271105"/>
                <a:gd name="connsiteX2" fmla="*/ 388329 w 388328"/>
                <a:gd name="connsiteY2" fmla="*/ 38403 h 271105"/>
                <a:gd name="connsiteX3" fmla="*/ 201818 w 388328"/>
                <a:gd name="connsiteY3" fmla="*/ 0 h 271105"/>
                <a:gd name="connsiteX4" fmla="*/ 0 w 388328"/>
                <a:gd name="connsiteY4" fmla="*/ 142199 h 271105"/>
                <a:gd name="connsiteX5" fmla="*/ 0 w 388328"/>
                <a:gd name="connsiteY5" fmla="*/ 146093 h 271105"/>
                <a:gd name="connsiteX6" fmla="*/ 159521 w 388328"/>
                <a:gd name="connsiteY6" fmla="*/ 271105 h 271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8328" h="271105">
                  <a:moveTo>
                    <a:pt x="159521" y="271105"/>
                  </a:moveTo>
                  <a:cubicBezTo>
                    <a:pt x="295946" y="271105"/>
                    <a:pt x="388329" y="196179"/>
                    <a:pt x="388329" y="90368"/>
                  </a:cubicBezTo>
                  <a:lnTo>
                    <a:pt x="388329" y="38403"/>
                  </a:lnTo>
                  <a:cubicBezTo>
                    <a:pt x="338378" y="15308"/>
                    <a:pt x="272985" y="0"/>
                    <a:pt x="201818" y="0"/>
                  </a:cubicBezTo>
                  <a:cubicBezTo>
                    <a:pt x="76806" y="0"/>
                    <a:pt x="0" y="49951"/>
                    <a:pt x="0" y="142199"/>
                  </a:cubicBezTo>
                  <a:lnTo>
                    <a:pt x="0" y="146093"/>
                  </a:lnTo>
                  <a:cubicBezTo>
                    <a:pt x="0" y="224914"/>
                    <a:pt x="65393" y="271105"/>
                    <a:pt x="159521" y="271105"/>
                  </a:cubicBezTo>
                  <a:close/>
                </a:path>
              </a:pathLst>
            </a:custGeom>
            <a:solidFill>
              <a:srgbClr val="34AADE">
                <a:alpha val="94902"/>
              </a:srgbClr>
            </a:solidFill>
            <a:ln w="1342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BCB8E2D-D235-4BFB-902E-AECE18396BFB}"/>
                </a:ext>
              </a:extLst>
            </p:cNvPr>
            <p:cNvSpPr/>
            <p:nvPr/>
          </p:nvSpPr>
          <p:spPr>
            <a:xfrm>
              <a:off x="6353522" y="3114903"/>
              <a:ext cx="13024" cy="20007"/>
            </a:xfrm>
            <a:custGeom>
              <a:avLst/>
              <a:gdLst>
                <a:gd name="connsiteX0" fmla="*/ 13025 w 13024"/>
                <a:gd name="connsiteY0" fmla="*/ 20007 h 20007"/>
                <a:gd name="connsiteX1" fmla="*/ 0 w 13024"/>
                <a:gd name="connsiteY1" fmla="*/ 0 h 20007"/>
                <a:gd name="connsiteX2" fmla="*/ 0 w 13024"/>
                <a:gd name="connsiteY2" fmla="*/ 20007 h 2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024" h="20007">
                  <a:moveTo>
                    <a:pt x="13025" y="20007"/>
                  </a:moveTo>
                  <a:lnTo>
                    <a:pt x="0" y="0"/>
                  </a:lnTo>
                  <a:lnTo>
                    <a:pt x="0" y="20007"/>
                  </a:lnTo>
                  <a:close/>
                </a:path>
              </a:pathLst>
            </a:custGeom>
            <a:solidFill>
              <a:srgbClr val="34AADE"/>
            </a:solidFill>
            <a:ln w="13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8" name="Graphic 7">
            <a:extLst>
              <a:ext uri="{FF2B5EF4-FFF2-40B4-BE49-F238E27FC236}">
                <a16:creationId xmlns:a16="http://schemas.microsoft.com/office/drawing/2014/main" id="{6D6D8208-3BF6-43C1-945B-A5ACFAF8DB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337338" y="530146"/>
            <a:ext cx="3237937" cy="2222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773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l" defTabSz="825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63340339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257;p9" descr="Pexels Videos 2257256.mp4">
            <a:extLst>
              <a:ext uri="{FF2B5EF4-FFF2-40B4-BE49-F238E27FC236}">
                <a16:creationId xmlns:a16="http://schemas.microsoft.com/office/drawing/2014/main" id="{3C9CF11C-DBC0-52DC-2982-1F8E1523927E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4314;p19">
            <a:extLst>
              <a:ext uri="{FF2B5EF4-FFF2-40B4-BE49-F238E27FC236}">
                <a16:creationId xmlns:a16="http://schemas.microsoft.com/office/drawing/2014/main" id="{9FD2B120-D3B5-E6A7-6680-8D530DF999E6}"/>
              </a:ext>
            </a:extLst>
          </p:cNvPr>
          <p:cNvSpPr/>
          <p:nvPr userDrawn="1"/>
        </p:nvSpPr>
        <p:spPr>
          <a:xfrm>
            <a:off x="0" y="0"/>
            <a:ext cx="12179418" cy="6858000"/>
          </a:xfrm>
          <a:prstGeom prst="rect">
            <a:avLst/>
          </a:prstGeom>
          <a:gradFill flip="none" rotWithShape="1">
            <a:gsLst>
              <a:gs pos="0">
                <a:srgbClr val="021C4D">
                  <a:alpha val="30000"/>
                </a:srgbClr>
              </a:gs>
              <a:gs pos="99000">
                <a:srgbClr val="002060"/>
              </a:gs>
            </a:gsLst>
            <a:lin ang="0" scaled="1"/>
            <a:tileRect/>
          </a:gra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C89746-4787-DCC4-A198-885F578FA5BF}"/>
              </a:ext>
            </a:extLst>
          </p:cNvPr>
          <p:cNvSpPr txBox="1"/>
          <p:nvPr userDrawn="1"/>
        </p:nvSpPr>
        <p:spPr>
          <a:xfrm>
            <a:off x="-166255" y="4476997"/>
            <a:ext cx="923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119392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318839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67796808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C6CAE71-E9D6-BF46-AB9D-D9EB3D51F0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0" y="1510"/>
            <a:ext cx="12193799" cy="6864563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3A38AA8A-CB4E-5A46-80A2-884EE06830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062" y="4760936"/>
            <a:ext cx="6289778" cy="43497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itchFamily="2" charset="0"/>
                <a:cs typeface="Gotham Medium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1123C6-DEC0-0D41-9525-9436A7FCC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0" y="1545186"/>
            <a:ext cx="6289780" cy="2814411"/>
          </a:xfrm>
          <a:prstGeom prst="rect">
            <a:avLst/>
          </a:prstGeom>
        </p:spPr>
        <p:txBody>
          <a:bodyPr/>
          <a:lstStyle>
            <a:lvl1pPr>
              <a:defRPr sz="6000" b="1" i="0">
                <a:latin typeface="Gotham Narrow Black" pitchFamily="2" charset="0"/>
                <a:cs typeface="Gotham Medium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F834F6D2-EF2F-BE48-9123-3E204FAEA5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62186" y="490713"/>
            <a:ext cx="1849674" cy="365125"/>
          </a:xfrm>
          <a:prstGeom prst="rect">
            <a:avLst/>
          </a:prstGeom>
        </p:spPr>
        <p:txBody>
          <a:bodyPr lIns="90000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9C6505-0DB4-4F42-9517-8EE46F733C69}" type="datetime3">
              <a:rPr kumimoji="0" lang="en-IN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December 20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2D87880-BB7D-0540-BA4F-ED0941AE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577895"/>
            <a:ext cx="2923419" cy="2801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itchFamily="2" charset="0"/>
                <a:cs typeface="Gotham Medium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© 2019-2020 </a:t>
            </a:r>
            <a:r>
              <a:rPr kumimoji="0" lang="en-IN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Sterlite Technologies Limited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Medium" pitchFamily="2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DDBBE3CE-FDC1-8B44-8E98-60EE7188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8840" y="491792"/>
            <a:ext cx="4058445" cy="5848882"/>
          </a:xfrm>
          <a:custGeom>
            <a:avLst/>
            <a:gdLst>
              <a:gd name="connsiteX0" fmla="*/ 0 w 4552950"/>
              <a:gd name="connsiteY0" fmla="*/ 0 h 4260850"/>
              <a:gd name="connsiteX1" fmla="*/ 2422525 w 4552950"/>
              <a:gd name="connsiteY1" fmla="*/ 0 h 4260850"/>
              <a:gd name="connsiteX2" fmla="*/ 4552950 w 4552950"/>
              <a:gd name="connsiteY2" fmla="*/ 2130425 h 4260850"/>
              <a:gd name="connsiteX3" fmla="*/ 2422525 w 4552950"/>
              <a:gd name="connsiteY3" fmla="*/ 4260850 h 4260850"/>
              <a:gd name="connsiteX4" fmla="*/ 0 w 4552950"/>
              <a:gd name="connsiteY4" fmla="*/ 4260850 h 4260850"/>
              <a:gd name="connsiteX5" fmla="*/ 2130425 w 4552950"/>
              <a:gd name="connsiteY5" fmla="*/ 2130425 h 4260850"/>
              <a:gd name="connsiteX6" fmla="*/ 0 w 4552950"/>
              <a:gd name="connsiteY6" fmla="*/ 0 h 426085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52950"/>
              <a:gd name="connsiteY0" fmla="*/ 107950 h 4368800"/>
              <a:gd name="connsiteX1" fmla="*/ 2225675 w 4552950"/>
              <a:gd name="connsiteY1" fmla="*/ 0 h 4368800"/>
              <a:gd name="connsiteX2" fmla="*/ 4552950 w 4552950"/>
              <a:gd name="connsiteY2" fmla="*/ 2238375 h 4368800"/>
              <a:gd name="connsiteX3" fmla="*/ 2422525 w 4552950"/>
              <a:gd name="connsiteY3" fmla="*/ 4368800 h 4368800"/>
              <a:gd name="connsiteX4" fmla="*/ 0 w 4552950"/>
              <a:gd name="connsiteY4" fmla="*/ 4368800 h 4368800"/>
              <a:gd name="connsiteX5" fmla="*/ 2130425 w 4552950"/>
              <a:gd name="connsiteY5" fmla="*/ 2238375 h 4368800"/>
              <a:gd name="connsiteX6" fmla="*/ 0 w 4552950"/>
              <a:gd name="connsiteY6" fmla="*/ 107950 h 4368800"/>
              <a:gd name="connsiteX0" fmla="*/ 0 w 4576594"/>
              <a:gd name="connsiteY0" fmla="*/ 107950 h 4368800"/>
              <a:gd name="connsiteX1" fmla="*/ 2225675 w 4576594"/>
              <a:gd name="connsiteY1" fmla="*/ 0 h 4368800"/>
              <a:gd name="connsiteX2" fmla="*/ 3482729 w 4576594"/>
              <a:gd name="connsiteY2" fmla="*/ 1184275 h 4368800"/>
              <a:gd name="connsiteX3" fmla="*/ 4552950 w 4576594"/>
              <a:gd name="connsiteY3" fmla="*/ 2238375 h 4368800"/>
              <a:gd name="connsiteX4" fmla="*/ 2422525 w 4576594"/>
              <a:gd name="connsiteY4" fmla="*/ 4368800 h 4368800"/>
              <a:gd name="connsiteX5" fmla="*/ 0 w 4576594"/>
              <a:gd name="connsiteY5" fmla="*/ 4368800 h 4368800"/>
              <a:gd name="connsiteX6" fmla="*/ 2130425 w 4576594"/>
              <a:gd name="connsiteY6" fmla="*/ 2238375 h 4368800"/>
              <a:gd name="connsiteX7" fmla="*/ 0 w 4576594"/>
              <a:gd name="connsiteY7" fmla="*/ 107950 h 4368800"/>
              <a:gd name="connsiteX0" fmla="*/ 0 w 4574056"/>
              <a:gd name="connsiteY0" fmla="*/ 107950 h 4368800"/>
              <a:gd name="connsiteX1" fmla="*/ 2225675 w 4574056"/>
              <a:gd name="connsiteY1" fmla="*/ 0 h 4368800"/>
              <a:gd name="connsiteX2" fmla="*/ 3362079 w 4574056"/>
              <a:gd name="connsiteY2" fmla="*/ 1019175 h 4368800"/>
              <a:gd name="connsiteX3" fmla="*/ 4552950 w 4574056"/>
              <a:gd name="connsiteY3" fmla="*/ 2238375 h 4368800"/>
              <a:gd name="connsiteX4" fmla="*/ 2422525 w 4574056"/>
              <a:gd name="connsiteY4" fmla="*/ 4368800 h 4368800"/>
              <a:gd name="connsiteX5" fmla="*/ 0 w 4574056"/>
              <a:gd name="connsiteY5" fmla="*/ 4368800 h 4368800"/>
              <a:gd name="connsiteX6" fmla="*/ 2130425 w 4574056"/>
              <a:gd name="connsiteY6" fmla="*/ 2238375 h 4368800"/>
              <a:gd name="connsiteX7" fmla="*/ 0 w 4574056"/>
              <a:gd name="connsiteY7" fmla="*/ 107950 h 4368800"/>
              <a:gd name="connsiteX0" fmla="*/ 0 w 4574056"/>
              <a:gd name="connsiteY0" fmla="*/ 107950 h 4368800"/>
              <a:gd name="connsiteX1" fmla="*/ 1946029 w 4574056"/>
              <a:gd name="connsiteY1" fmla="*/ 15875 h 4368800"/>
              <a:gd name="connsiteX2" fmla="*/ 2225675 w 4574056"/>
              <a:gd name="connsiteY2" fmla="*/ 0 h 4368800"/>
              <a:gd name="connsiteX3" fmla="*/ 3362079 w 4574056"/>
              <a:gd name="connsiteY3" fmla="*/ 1019175 h 4368800"/>
              <a:gd name="connsiteX4" fmla="*/ 4552950 w 4574056"/>
              <a:gd name="connsiteY4" fmla="*/ 2238375 h 4368800"/>
              <a:gd name="connsiteX5" fmla="*/ 2422525 w 4574056"/>
              <a:gd name="connsiteY5" fmla="*/ 4368800 h 4368800"/>
              <a:gd name="connsiteX6" fmla="*/ 0 w 4574056"/>
              <a:gd name="connsiteY6" fmla="*/ 4368800 h 4368800"/>
              <a:gd name="connsiteX7" fmla="*/ 2130425 w 4574056"/>
              <a:gd name="connsiteY7" fmla="*/ 2238375 h 4368800"/>
              <a:gd name="connsiteX8" fmla="*/ 0 w 4574056"/>
              <a:gd name="connsiteY8" fmla="*/ 107950 h 4368800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4574056"/>
              <a:gd name="connsiteY0" fmla="*/ 155575 h 4416425"/>
              <a:gd name="connsiteX1" fmla="*/ 1888879 w 4574056"/>
              <a:gd name="connsiteY1" fmla="*/ 0 h 4416425"/>
              <a:gd name="connsiteX2" fmla="*/ 2225675 w 4574056"/>
              <a:gd name="connsiteY2" fmla="*/ 47625 h 4416425"/>
              <a:gd name="connsiteX3" fmla="*/ 3362079 w 4574056"/>
              <a:gd name="connsiteY3" fmla="*/ 1066800 h 4416425"/>
              <a:gd name="connsiteX4" fmla="*/ 4552950 w 4574056"/>
              <a:gd name="connsiteY4" fmla="*/ 2286000 h 4416425"/>
              <a:gd name="connsiteX5" fmla="*/ 2422525 w 4574056"/>
              <a:gd name="connsiteY5" fmla="*/ 4416425 h 4416425"/>
              <a:gd name="connsiteX6" fmla="*/ 0 w 4574056"/>
              <a:gd name="connsiteY6" fmla="*/ 4416425 h 4416425"/>
              <a:gd name="connsiteX7" fmla="*/ 2130425 w 4574056"/>
              <a:gd name="connsiteY7" fmla="*/ 2286000 h 4416425"/>
              <a:gd name="connsiteX8" fmla="*/ 0 w 4574056"/>
              <a:gd name="connsiteY8" fmla="*/ 155575 h 4416425"/>
              <a:gd name="connsiteX0" fmla="*/ 0 w 3614049"/>
              <a:gd name="connsiteY0" fmla="*/ 155575 h 4416425"/>
              <a:gd name="connsiteX1" fmla="*/ 1888879 w 3614049"/>
              <a:gd name="connsiteY1" fmla="*/ 0 h 4416425"/>
              <a:gd name="connsiteX2" fmla="*/ 2225675 w 3614049"/>
              <a:gd name="connsiteY2" fmla="*/ 47625 h 4416425"/>
              <a:gd name="connsiteX3" fmla="*/ 3362079 w 3614049"/>
              <a:gd name="connsiteY3" fmla="*/ 1066800 h 4416425"/>
              <a:gd name="connsiteX4" fmla="*/ 3441700 w 3614049"/>
              <a:gd name="connsiteY4" fmla="*/ 3448050 h 4416425"/>
              <a:gd name="connsiteX5" fmla="*/ 2422525 w 3614049"/>
              <a:gd name="connsiteY5" fmla="*/ 4416425 h 4416425"/>
              <a:gd name="connsiteX6" fmla="*/ 0 w 3614049"/>
              <a:gd name="connsiteY6" fmla="*/ 4416425 h 4416425"/>
              <a:gd name="connsiteX7" fmla="*/ 2130425 w 3614049"/>
              <a:gd name="connsiteY7" fmla="*/ 2286000 h 4416425"/>
              <a:gd name="connsiteX8" fmla="*/ 0 w 3614049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2130425 w 4199688"/>
              <a:gd name="connsiteY7" fmla="*/ 228600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831975 w 4199688"/>
              <a:gd name="connsiteY7" fmla="*/ 22796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0 w 4199688"/>
              <a:gd name="connsiteY8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834779 w 4199688"/>
              <a:gd name="connsiteY8" fmla="*/ 16065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488829 w 4199688"/>
              <a:gd name="connsiteY8" fmla="*/ 1593851 h 4416425"/>
              <a:gd name="connsiteX9" fmla="*/ 0 w 4199688"/>
              <a:gd name="connsiteY9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526929 w 4199688"/>
              <a:gd name="connsiteY8" fmla="*/ 21907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488829 w 4199688"/>
              <a:gd name="connsiteY9" fmla="*/ 159385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0 w 4199688"/>
              <a:gd name="connsiteY10" fmla="*/ 155575 h 4416425"/>
              <a:gd name="connsiteX0" fmla="*/ 0 w 4199688"/>
              <a:gd name="connsiteY0" fmla="*/ 1555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0 w 4199688"/>
              <a:gd name="connsiteY11" fmla="*/ 1555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888879 w 4199688"/>
              <a:gd name="connsiteY1" fmla="*/ 0 h 4416425"/>
              <a:gd name="connsiteX2" fmla="*/ 2225675 w 4199688"/>
              <a:gd name="connsiteY2" fmla="*/ 47625 h 4416425"/>
              <a:gd name="connsiteX3" fmla="*/ 3362079 w 4199688"/>
              <a:gd name="connsiteY3" fmla="*/ 1066800 h 4416425"/>
              <a:gd name="connsiteX4" fmla="*/ 3441700 w 4199688"/>
              <a:gd name="connsiteY4" fmla="*/ 3448050 h 4416425"/>
              <a:gd name="connsiteX5" fmla="*/ 2422525 w 4199688"/>
              <a:gd name="connsiteY5" fmla="*/ 4416425 h 4416425"/>
              <a:gd name="connsiteX6" fmla="*/ 0 w 4199688"/>
              <a:gd name="connsiteY6" fmla="*/ 4416425 h 4416425"/>
              <a:gd name="connsiteX7" fmla="*/ 1590675 w 4199688"/>
              <a:gd name="connsiteY7" fmla="*/ 2901950 h 4416425"/>
              <a:gd name="connsiteX8" fmla="*/ 1825379 w 4199688"/>
              <a:gd name="connsiteY8" fmla="*/ 2203451 h 4416425"/>
              <a:gd name="connsiteX9" fmla="*/ 1647579 w 4199688"/>
              <a:gd name="connsiteY9" fmla="*/ 1739901 h 4416425"/>
              <a:gd name="connsiteX10" fmla="*/ 1355479 w 4199688"/>
              <a:gd name="connsiteY10" fmla="*/ 1460501 h 4416425"/>
              <a:gd name="connsiteX11" fmla="*/ 1041400 w 4199688"/>
              <a:gd name="connsiteY11" fmla="*/ 574675 h 4416425"/>
              <a:gd name="connsiteX0" fmla="*/ 1041400 w 4199688"/>
              <a:gd name="connsiteY0" fmla="*/ 574675 h 4416425"/>
              <a:gd name="connsiteX1" fmla="*/ 1476129 w 4199688"/>
              <a:gd name="connsiteY1" fmla="*/ 2794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99688"/>
              <a:gd name="connsiteY0" fmla="*/ 574675 h 4416425"/>
              <a:gd name="connsiteX1" fmla="*/ 1361829 w 4199688"/>
              <a:gd name="connsiteY1" fmla="*/ 190501 h 4416425"/>
              <a:gd name="connsiteX2" fmla="*/ 1888879 w 4199688"/>
              <a:gd name="connsiteY2" fmla="*/ 0 h 4416425"/>
              <a:gd name="connsiteX3" fmla="*/ 2225675 w 4199688"/>
              <a:gd name="connsiteY3" fmla="*/ 47625 h 4416425"/>
              <a:gd name="connsiteX4" fmla="*/ 3362079 w 4199688"/>
              <a:gd name="connsiteY4" fmla="*/ 1066800 h 4416425"/>
              <a:gd name="connsiteX5" fmla="*/ 3441700 w 4199688"/>
              <a:gd name="connsiteY5" fmla="*/ 3448050 h 4416425"/>
              <a:gd name="connsiteX6" fmla="*/ 2422525 w 4199688"/>
              <a:gd name="connsiteY6" fmla="*/ 4416425 h 4416425"/>
              <a:gd name="connsiteX7" fmla="*/ 0 w 4199688"/>
              <a:gd name="connsiteY7" fmla="*/ 4416425 h 4416425"/>
              <a:gd name="connsiteX8" fmla="*/ 1590675 w 4199688"/>
              <a:gd name="connsiteY8" fmla="*/ 2901950 h 4416425"/>
              <a:gd name="connsiteX9" fmla="*/ 1825379 w 4199688"/>
              <a:gd name="connsiteY9" fmla="*/ 2203451 h 4416425"/>
              <a:gd name="connsiteX10" fmla="*/ 1647579 w 4199688"/>
              <a:gd name="connsiteY10" fmla="*/ 1739901 h 4416425"/>
              <a:gd name="connsiteX11" fmla="*/ 1355479 w 4199688"/>
              <a:gd name="connsiteY11" fmla="*/ 1460501 h 4416425"/>
              <a:gd name="connsiteX12" fmla="*/ 1041400 w 4199688"/>
              <a:gd name="connsiteY12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9845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141381"/>
              <a:gd name="connsiteY0" fmla="*/ 574675 h 4416425"/>
              <a:gd name="connsiteX1" fmla="*/ 1361829 w 4141381"/>
              <a:gd name="connsiteY1" fmla="*/ 190501 h 4416425"/>
              <a:gd name="connsiteX2" fmla="*/ 1888879 w 4141381"/>
              <a:gd name="connsiteY2" fmla="*/ 0 h 4416425"/>
              <a:gd name="connsiteX3" fmla="*/ 2225675 w 4141381"/>
              <a:gd name="connsiteY3" fmla="*/ 47625 h 4416425"/>
              <a:gd name="connsiteX4" fmla="*/ 2574679 w 4141381"/>
              <a:gd name="connsiteY4" fmla="*/ 279401 h 4416425"/>
              <a:gd name="connsiteX5" fmla="*/ 3362079 w 4141381"/>
              <a:gd name="connsiteY5" fmla="*/ 1066800 h 4416425"/>
              <a:gd name="connsiteX6" fmla="*/ 3441700 w 4141381"/>
              <a:gd name="connsiteY6" fmla="*/ 3448050 h 4416425"/>
              <a:gd name="connsiteX7" fmla="*/ 2422525 w 4141381"/>
              <a:gd name="connsiteY7" fmla="*/ 4416425 h 4416425"/>
              <a:gd name="connsiteX8" fmla="*/ 0 w 4141381"/>
              <a:gd name="connsiteY8" fmla="*/ 4416425 h 4416425"/>
              <a:gd name="connsiteX9" fmla="*/ 1590675 w 4141381"/>
              <a:gd name="connsiteY9" fmla="*/ 2901950 h 4416425"/>
              <a:gd name="connsiteX10" fmla="*/ 1825379 w 4141381"/>
              <a:gd name="connsiteY10" fmla="*/ 2203451 h 4416425"/>
              <a:gd name="connsiteX11" fmla="*/ 1647579 w 4141381"/>
              <a:gd name="connsiteY11" fmla="*/ 1739901 h 4416425"/>
              <a:gd name="connsiteX12" fmla="*/ 1355479 w 4141381"/>
              <a:gd name="connsiteY12" fmla="*/ 1460501 h 4416425"/>
              <a:gd name="connsiteX13" fmla="*/ 1041400 w 4141381"/>
              <a:gd name="connsiteY13" fmla="*/ 574675 h 4416425"/>
              <a:gd name="connsiteX0" fmla="*/ 1041400 w 4212151"/>
              <a:gd name="connsiteY0" fmla="*/ 574675 h 4416425"/>
              <a:gd name="connsiteX1" fmla="*/ 1361829 w 4212151"/>
              <a:gd name="connsiteY1" fmla="*/ 190501 h 4416425"/>
              <a:gd name="connsiteX2" fmla="*/ 1888879 w 4212151"/>
              <a:gd name="connsiteY2" fmla="*/ 0 h 4416425"/>
              <a:gd name="connsiteX3" fmla="*/ 2225675 w 4212151"/>
              <a:gd name="connsiteY3" fmla="*/ 47625 h 4416425"/>
              <a:gd name="connsiteX4" fmla="*/ 2574679 w 4212151"/>
              <a:gd name="connsiteY4" fmla="*/ 279401 h 4416425"/>
              <a:gd name="connsiteX5" fmla="*/ 3362079 w 4212151"/>
              <a:gd name="connsiteY5" fmla="*/ 1066800 h 4416425"/>
              <a:gd name="connsiteX6" fmla="*/ 3441700 w 4212151"/>
              <a:gd name="connsiteY6" fmla="*/ 3448050 h 4416425"/>
              <a:gd name="connsiteX7" fmla="*/ 2422525 w 4212151"/>
              <a:gd name="connsiteY7" fmla="*/ 4416425 h 4416425"/>
              <a:gd name="connsiteX8" fmla="*/ 0 w 4212151"/>
              <a:gd name="connsiteY8" fmla="*/ 4416425 h 4416425"/>
              <a:gd name="connsiteX9" fmla="*/ 1590675 w 4212151"/>
              <a:gd name="connsiteY9" fmla="*/ 2901950 h 4416425"/>
              <a:gd name="connsiteX10" fmla="*/ 1825379 w 4212151"/>
              <a:gd name="connsiteY10" fmla="*/ 2203451 h 4416425"/>
              <a:gd name="connsiteX11" fmla="*/ 1647579 w 4212151"/>
              <a:gd name="connsiteY11" fmla="*/ 1739901 h 4416425"/>
              <a:gd name="connsiteX12" fmla="*/ 1355479 w 4212151"/>
              <a:gd name="connsiteY12" fmla="*/ 1460501 h 4416425"/>
              <a:gd name="connsiteX13" fmla="*/ 1041400 w 4212151"/>
              <a:gd name="connsiteY13" fmla="*/ 574675 h 4416425"/>
              <a:gd name="connsiteX0" fmla="*/ 1041400 w 4003839"/>
              <a:gd name="connsiteY0" fmla="*/ 574675 h 4416425"/>
              <a:gd name="connsiteX1" fmla="*/ 1361829 w 4003839"/>
              <a:gd name="connsiteY1" fmla="*/ 190501 h 4416425"/>
              <a:gd name="connsiteX2" fmla="*/ 1888879 w 4003839"/>
              <a:gd name="connsiteY2" fmla="*/ 0 h 4416425"/>
              <a:gd name="connsiteX3" fmla="*/ 2225675 w 4003839"/>
              <a:gd name="connsiteY3" fmla="*/ 47625 h 4416425"/>
              <a:gd name="connsiteX4" fmla="*/ 2574679 w 4003839"/>
              <a:gd name="connsiteY4" fmla="*/ 279401 h 4416425"/>
              <a:gd name="connsiteX5" fmla="*/ 3362079 w 4003839"/>
              <a:gd name="connsiteY5" fmla="*/ 1066800 h 4416425"/>
              <a:gd name="connsiteX6" fmla="*/ 4003430 w 4003839"/>
              <a:gd name="connsiteY6" fmla="*/ 2870201 h 4416425"/>
              <a:gd name="connsiteX7" fmla="*/ 3441700 w 4003839"/>
              <a:gd name="connsiteY7" fmla="*/ 3448050 h 4416425"/>
              <a:gd name="connsiteX8" fmla="*/ 2422525 w 4003839"/>
              <a:gd name="connsiteY8" fmla="*/ 4416425 h 4416425"/>
              <a:gd name="connsiteX9" fmla="*/ 0 w 4003839"/>
              <a:gd name="connsiteY9" fmla="*/ 4416425 h 4416425"/>
              <a:gd name="connsiteX10" fmla="*/ 1590675 w 4003839"/>
              <a:gd name="connsiteY10" fmla="*/ 2901950 h 4416425"/>
              <a:gd name="connsiteX11" fmla="*/ 1825379 w 4003839"/>
              <a:gd name="connsiteY11" fmla="*/ 2203451 h 4416425"/>
              <a:gd name="connsiteX12" fmla="*/ 1647579 w 4003839"/>
              <a:gd name="connsiteY12" fmla="*/ 1739901 h 4416425"/>
              <a:gd name="connsiteX13" fmla="*/ 1355479 w 4003839"/>
              <a:gd name="connsiteY13" fmla="*/ 1460501 h 4416425"/>
              <a:gd name="connsiteX14" fmla="*/ 1041400 w 4003839"/>
              <a:gd name="connsiteY14" fmla="*/ 574675 h 4416425"/>
              <a:gd name="connsiteX0" fmla="*/ 1041400 w 4187841"/>
              <a:gd name="connsiteY0" fmla="*/ 574675 h 4416425"/>
              <a:gd name="connsiteX1" fmla="*/ 1361829 w 4187841"/>
              <a:gd name="connsiteY1" fmla="*/ 190501 h 4416425"/>
              <a:gd name="connsiteX2" fmla="*/ 1888879 w 4187841"/>
              <a:gd name="connsiteY2" fmla="*/ 0 h 4416425"/>
              <a:gd name="connsiteX3" fmla="*/ 2225675 w 4187841"/>
              <a:gd name="connsiteY3" fmla="*/ 47625 h 4416425"/>
              <a:gd name="connsiteX4" fmla="*/ 2574679 w 4187841"/>
              <a:gd name="connsiteY4" fmla="*/ 279401 h 4416425"/>
              <a:gd name="connsiteX5" fmla="*/ 3362079 w 4187841"/>
              <a:gd name="connsiteY5" fmla="*/ 1066800 h 4416425"/>
              <a:gd name="connsiteX6" fmla="*/ 4187580 w 4187841"/>
              <a:gd name="connsiteY6" fmla="*/ 2279651 h 4416425"/>
              <a:gd name="connsiteX7" fmla="*/ 3441700 w 4187841"/>
              <a:gd name="connsiteY7" fmla="*/ 3448050 h 4416425"/>
              <a:gd name="connsiteX8" fmla="*/ 2422525 w 4187841"/>
              <a:gd name="connsiteY8" fmla="*/ 4416425 h 4416425"/>
              <a:gd name="connsiteX9" fmla="*/ 0 w 4187841"/>
              <a:gd name="connsiteY9" fmla="*/ 4416425 h 4416425"/>
              <a:gd name="connsiteX10" fmla="*/ 1590675 w 4187841"/>
              <a:gd name="connsiteY10" fmla="*/ 2901950 h 4416425"/>
              <a:gd name="connsiteX11" fmla="*/ 1825379 w 4187841"/>
              <a:gd name="connsiteY11" fmla="*/ 2203451 h 4416425"/>
              <a:gd name="connsiteX12" fmla="*/ 1647579 w 4187841"/>
              <a:gd name="connsiteY12" fmla="*/ 1739901 h 4416425"/>
              <a:gd name="connsiteX13" fmla="*/ 1355479 w 4187841"/>
              <a:gd name="connsiteY13" fmla="*/ 1460501 h 4416425"/>
              <a:gd name="connsiteX14" fmla="*/ 1041400 w 4187841"/>
              <a:gd name="connsiteY14" fmla="*/ 574675 h 4416425"/>
              <a:gd name="connsiteX0" fmla="*/ 1041400 w 4200656"/>
              <a:gd name="connsiteY0" fmla="*/ 574675 h 4416425"/>
              <a:gd name="connsiteX1" fmla="*/ 1361829 w 4200656"/>
              <a:gd name="connsiteY1" fmla="*/ 190501 h 4416425"/>
              <a:gd name="connsiteX2" fmla="*/ 1888879 w 4200656"/>
              <a:gd name="connsiteY2" fmla="*/ 0 h 4416425"/>
              <a:gd name="connsiteX3" fmla="*/ 2225675 w 4200656"/>
              <a:gd name="connsiteY3" fmla="*/ 47625 h 4416425"/>
              <a:gd name="connsiteX4" fmla="*/ 2574679 w 4200656"/>
              <a:gd name="connsiteY4" fmla="*/ 279401 h 4416425"/>
              <a:gd name="connsiteX5" fmla="*/ 3362079 w 4200656"/>
              <a:gd name="connsiteY5" fmla="*/ 1066800 h 4416425"/>
              <a:gd name="connsiteX6" fmla="*/ 3876430 w 4200656"/>
              <a:gd name="connsiteY6" fmla="*/ 1714501 h 4416425"/>
              <a:gd name="connsiteX7" fmla="*/ 4187580 w 4200656"/>
              <a:gd name="connsiteY7" fmla="*/ 2279651 h 4416425"/>
              <a:gd name="connsiteX8" fmla="*/ 3441700 w 4200656"/>
              <a:gd name="connsiteY8" fmla="*/ 3448050 h 4416425"/>
              <a:gd name="connsiteX9" fmla="*/ 2422525 w 4200656"/>
              <a:gd name="connsiteY9" fmla="*/ 4416425 h 4416425"/>
              <a:gd name="connsiteX10" fmla="*/ 0 w 4200656"/>
              <a:gd name="connsiteY10" fmla="*/ 4416425 h 4416425"/>
              <a:gd name="connsiteX11" fmla="*/ 1590675 w 4200656"/>
              <a:gd name="connsiteY11" fmla="*/ 2901950 h 4416425"/>
              <a:gd name="connsiteX12" fmla="*/ 1825379 w 4200656"/>
              <a:gd name="connsiteY12" fmla="*/ 2203451 h 4416425"/>
              <a:gd name="connsiteX13" fmla="*/ 1647579 w 4200656"/>
              <a:gd name="connsiteY13" fmla="*/ 1739901 h 4416425"/>
              <a:gd name="connsiteX14" fmla="*/ 1355479 w 4200656"/>
              <a:gd name="connsiteY14" fmla="*/ 1460501 h 4416425"/>
              <a:gd name="connsiteX15" fmla="*/ 1041400 w 4200656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4890"/>
              <a:gd name="connsiteY0" fmla="*/ 574675 h 4416425"/>
              <a:gd name="connsiteX1" fmla="*/ 1361829 w 4204890"/>
              <a:gd name="connsiteY1" fmla="*/ 190501 h 4416425"/>
              <a:gd name="connsiteX2" fmla="*/ 1888879 w 4204890"/>
              <a:gd name="connsiteY2" fmla="*/ 0 h 4416425"/>
              <a:gd name="connsiteX3" fmla="*/ 2225675 w 4204890"/>
              <a:gd name="connsiteY3" fmla="*/ 47625 h 4416425"/>
              <a:gd name="connsiteX4" fmla="*/ 2574679 w 4204890"/>
              <a:gd name="connsiteY4" fmla="*/ 279401 h 4416425"/>
              <a:gd name="connsiteX5" fmla="*/ 3362079 w 4204890"/>
              <a:gd name="connsiteY5" fmla="*/ 1066800 h 4416425"/>
              <a:gd name="connsiteX6" fmla="*/ 3952630 w 4204890"/>
              <a:gd name="connsiteY6" fmla="*/ 1663701 h 4416425"/>
              <a:gd name="connsiteX7" fmla="*/ 4187580 w 4204890"/>
              <a:gd name="connsiteY7" fmla="*/ 2279651 h 4416425"/>
              <a:gd name="connsiteX8" fmla="*/ 3441700 w 4204890"/>
              <a:gd name="connsiteY8" fmla="*/ 3448050 h 4416425"/>
              <a:gd name="connsiteX9" fmla="*/ 2422525 w 4204890"/>
              <a:gd name="connsiteY9" fmla="*/ 4416425 h 4416425"/>
              <a:gd name="connsiteX10" fmla="*/ 0 w 4204890"/>
              <a:gd name="connsiteY10" fmla="*/ 4416425 h 4416425"/>
              <a:gd name="connsiteX11" fmla="*/ 1590675 w 4204890"/>
              <a:gd name="connsiteY11" fmla="*/ 2901950 h 4416425"/>
              <a:gd name="connsiteX12" fmla="*/ 1825379 w 4204890"/>
              <a:gd name="connsiteY12" fmla="*/ 2203451 h 4416425"/>
              <a:gd name="connsiteX13" fmla="*/ 1647579 w 4204890"/>
              <a:gd name="connsiteY13" fmla="*/ 1739901 h 4416425"/>
              <a:gd name="connsiteX14" fmla="*/ 1355479 w 4204890"/>
              <a:gd name="connsiteY14" fmla="*/ 1460501 h 4416425"/>
              <a:gd name="connsiteX15" fmla="*/ 1041400 w 4204890"/>
              <a:gd name="connsiteY15" fmla="*/ 574675 h 4416425"/>
              <a:gd name="connsiteX0" fmla="*/ 1041400 w 4203672"/>
              <a:gd name="connsiteY0" fmla="*/ 574675 h 4416425"/>
              <a:gd name="connsiteX1" fmla="*/ 1361829 w 4203672"/>
              <a:gd name="connsiteY1" fmla="*/ 190501 h 4416425"/>
              <a:gd name="connsiteX2" fmla="*/ 1888879 w 4203672"/>
              <a:gd name="connsiteY2" fmla="*/ 0 h 4416425"/>
              <a:gd name="connsiteX3" fmla="*/ 2225675 w 4203672"/>
              <a:gd name="connsiteY3" fmla="*/ 47625 h 4416425"/>
              <a:gd name="connsiteX4" fmla="*/ 2574679 w 4203672"/>
              <a:gd name="connsiteY4" fmla="*/ 279401 h 4416425"/>
              <a:gd name="connsiteX5" fmla="*/ 3362079 w 4203672"/>
              <a:gd name="connsiteY5" fmla="*/ 1066800 h 4416425"/>
              <a:gd name="connsiteX6" fmla="*/ 3952630 w 4203672"/>
              <a:gd name="connsiteY6" fmla="*/ 1663701 h 4416425"/>
              <a:gd name="connsiteX7" fmla="*/ 4187580 w 4203672"/>
              <a:gd name="connsiteY7" fmla="*/ 2279651 h 4416425"/>
              <a:gd name="connsiteX8" fmla="*/ 3441700 w 4203672"/>
              <a:gd name="connsiteY8" fmla="*/ 3448050 h 4416425"/>
              <a:gd name="connsiteX9" fmla="*/ 2422525 w 4203672"/>
              <a:gd name="connsiteY9" fmla="*/ 4416425 h 4416425"/>
              <a:gd name="connsiteX10" fmla="*/ 0 w 4203672"/>
              <a:gd name="connsiteY10" fmla="*/ 4416425 h 4416425"/>
              <a:gd name="connsiteX11" fmla="*/ 1590675 w 4203672"/>
              <a:gd name="connsiteY11" fmla="*/ 2901950 h 4416425"/>
              <a:gd name="connsiteX12" fmla="*/ 1825379 w 4203672"/>
              <a:gd name="connsiteY12" fmla="*/ 2203451 h 4416425"/>
              <a:gd name="connsiteX13" fmla="*/ 1647579 w 4203672"/>
              <a:gd name="connsiteY13" fmla="*/ 1739901 h 4416425"/>
              <a:gd name="connsiteX14" fmla="*/ 1355479 w 4203672"/>
              <a:gd name="connsiteY14" fmla="*/ 1460501 h 4416425"/>
              <a:gd name="connsiteX15" fmla="*/ 1041400 w 4203672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441700 w 4191105"/>
              <a:gd name="connsiteY8" fmla="*/ 3448050 h 4416425"/>
              <a:gd name="connsiteX9" fmla="*/ 2422525 w 4191105"/>
              <a:gd name="connsiteY9" fmla="*/ 4416425 h 4416425"/>
              <a:gd name="connsiteX10" fmla="*/ 0 w 4191105"/>
              <a:gd name="connsiteY10" fmla="*/ 4416425 h 4416425"/>
              <a:gd name="connsiteX11" fmla="*/ 1590675 w 4191105"/>
              <a:gd name="connsiteY11" fmla="*/ 2901950 h 4416425"/>
              <a:gd name="connsiteX12" fmla="*/ 1825379 w 4191105"/>
              <a:gd name="connsiteY12" fmla="*/ 2203451 h 4416425"/>
              <a:gd name="connsiteX13" fmla="*/ 1647579 w 4191105"/>
              <a:gd name="connsiteY13" fmla="*/ 1739901 h 4416425"/>
              <a:gd name="connsiteX14" fmla="*/ 1355479 w 4191105"/>
              <a:gd name="connsiteY14" fmla="*/ 1460501 h 4416425"/>
              <a:gd name="connsiteX15" fmla="*/ 1041400 w 4191105"/>
              <a:gd name="connsiteY15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3971680 w 4191105"/>
              <a:gd name="connsiteY8" fmla="*/ 27432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105"/>
              <a:gd name="connsiteY0" fmla="*/ 574675 h 4416425"/>
              <a:gd name="connsiteX1" fmla="*/ 1361829 w 4191105"/>
              <a:gd name="connsiteY1" fmla="*/ 190501 h 4416425"/>
              <a:gd name="connsiteX2" fmla="*/ 1888879 w 4191105"/>
              <a:gd name="connsiteY2" fmla="*/ 0 h 4416425"/>
              <a:gd name="connsiteX3" fmla="*/ 2225675 w 4191105"/>
              <a:gd name="connsiteY3" fmla="*/ 47625 h 4416425"/>
              <a:gd name="connsiteX4" fmla="*/ 2574679 w 4191105"/>
              <a:gd name="connsiteY4" fmla="*/ 279401 h 4416425"/>
              <a:gd name="connsiteX5" fmla="*/ 3362079 w 4191105"/>
              <a:gd name="connsiteY5" fmla="*/ 1066800 h 4416425"/>
              <a:gd name="connsiteX6" fmla="*/ 3952630 w 4191105"/>
              <a:gd name="connsiteY6" fmla="*/ 1663701 h 4416425"/>
              <a:gd name="connsiteX7" fmla="*/ 4187580 w 4191105"/>
              <a:gd name="connsiteY7" fmla="*/ 2279651 h 4416425"/>
              <a:gd name="connsiteX8" fmla="*/ 4035180 w 4191105"/>
              <a:gd name="connsiteY8" fmla="*/ 2819401 h 4416425"/>
              <a:gd name="connsiteX9" fmla="*/ 3441700 w 4191105"/>
              <a:gd name="connsiteY9" fmla="*/ 3448050 h 4416425"/>
              <a:gd name="connsiteX10" fmla="*/ 2422525 w 4191105"/>
              <a:gd name="connsiteY10" fmla="*/ 4416425 h 4416425"/>
              <a:gd name="connsiteX11" fmla="*/ 0 w 4191105"/>
              <a:gd name="connsiteY11" fmla="*/ 4416425 h 4416425"/>
              <a:gd name="connsiteX12" fmla="*/ 1590675 w 4191105"/>
              <a:gd name="connsiteY12" fmla="*/ 2901950 h 4416425"/>
              <a:gd name="connsiteX13" fmla="*/ 1825379 w 4191105"/>
              <a:gd name="connsiteY13" fmla="*/ 2203451 h 4416425"/>
              <a:gd name="connsiteX14" fmla="*/ 1647579 w 4191105"/>
              <a:gd name="connsiteY14" fmla="*/ 1739901 h 4416425"/>
              <a:gd name="connsiteX15" fmla="*/ 1355479 w 4191105"/>
              <a:gd name="connsiteY15" fmla="*/ 1460501 h 4416425"/>
              <a:gd name="connsiteX16" fmla="*/ 1041400 w 4191105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4035180 w 4191237"/>
              <a:gd name="connsiteY8" fmla="*/ 28194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1041400 w 4191237"/>
              <a:gd name="connsiteY0" fmla="*/ 574675 h 4416425"/>
              <a:gd name="connsiteX1" fmla="*/ 1361829 w 4191237"/>
              <a:gd name="connsiteY1" fmla="*/ 190501 h 4416425"/>
              <a:gd name="connsiteX2" fmla="*/ 1888879 w 4191237"/>
              <a:gd name="connsiteY2" fmla="*/ 0 h 4416425"/>
              <a:gd name="connsiteX3" fmla="*/ 2225675 w 4191237"/>
              <a:gd name="connsiteY3" fmla="*/ 47625 h 4416425"/>
              <a:gd name="connsiteX4" fmla="*/ 2574679 w 4191237"/>
              <a:gd name="connsiteY4" fmla="*/ 279401 h 4416425"/>
              <a:gd name="connsiteX5" fmla="*/ 3362079 w 4191237"/>
              <a:gd name="connsiteY5" fmla="*/ 1066800 h 4416425"/>
              <a:gd name="connsiteX6" fmla="*/ 3952630 w 4191237"/>
              <a:gd name="connsiteY6" fmla="*/ 1663701 h 4416425"/>
              <a:gd name="connsiteX7" fmla="*/ 4187580 w 4191237"/>
              <a:gd name="connsiteY7" fmla="*/ 2279651 h 4416425"/>
              <a:gd name="connsiteX8" fmla="*/ 3978030 w 4191237"/>
              <a:gd name="connsiteY8" fmla="*/ 2882901 h 4416425"/>
              <a:gd name="connsiteX9" fmla="*/ 3441700 w 4191237"/>
              <a:gd name="connsiteY9" fmla="*/ 3448050 h 4416425"/>
              <a:gd name="connsiteX10" fmla="*/ 2422525 w 4191237"/>
              <a:gd name="connsiteY10" fmla="*/ 4416425 h 4416425"/>
              <a:gd name="connsiteX11" fmla="*/ 0 w 4191237"/>
              <a:gd name="connsiteY11" fmla="*/ 4416425 h 4416425"/>
              <a:gd name="connsiteX12" fmla="*/ 1590675 w 4191237"/>
              <a:gd name="connsiteY12" fmla="*/ 2901950 h 4416425"/>
              <a:gd name="connsiteX13" fmla="*/ 1825379 w 4191237"/>
              <a:gd name="connsiteY13" fmla="*/ 2203451 h 4416425"/>
              <a:gd name="connsiteX14" fmla="*/ 1647579 w 4191237"/>
              <a:gd name="connsiteY14" fmla="*/ 1739901 h 4416425"/>
              <a:gd name="connsiteX15" fmla="*/ 1355479 w 4191237"/>
              <a:gd name="connsiteY15" fmla="*/ 1460501 h 4416425"/>
              <a:gd name="connsiteX16" fmla="*/ 1041400 w 4191237"/>
              <a:gd name="connsiteY16" fmla="*/ 574675 h 441642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571824 w 3172386"/>
              <a:gd name="connsiteY12" fmla="*/ 2901950 h 4575175"/>
              <a:gd name="connsiteX13" fmla="*/ 806528 w 3172386"/>
              <a:gd name="connsiteY13" fmla="*/ 2203451 h 4575175"/>
              <a:gd name="connsiteX14" fmla="*/ 628728 w 3172386"/>
              <a:gd name="connsiteY14" fmla="*/ 1739901 h 4575175"/>
              <a:gd name="connsiteX15" fmla="*/ 336628 w 3172386"/>
              <a:gd name="connsiteY15" fmla="*/ 1460501 h 4575175"/>
              <a:gd name="connsiteX16" fmla="*/ 22549 w 3172386"/>
              <a:gd name="connsiteY16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838278 w 3172386"/>
              <a:gd name="connsiteY12" fmla="*/ 418465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571824 w 3172386"/>
              <a:gd name="connsiteY13" fmla="*/ 2901950 h 4575175"/>
              <a:gd name="connsiteX14" fmla="*/ 806528 w 3172386"/>
              <a:gd name="connsiteY14" fmla="*/ 2203451 h 4575175"/>
              <a:gd name="connsiteX15" fmla="*/ 628728 w 3172386"/>
              <a:gd name="connsiteY15" fmla="*/ 1739901 h 4575175"/>
              <a:gd name="connsiteX16" fmla="*/ 336628 w 3172386"/>
              <a:gd name="connsiteY16" fmla="*/ 1460501 h 4575175"/>
              <a:gd name="connsiteX17" fmla="*/ 22549 w 3172386"/>
              <a:gd name="connsiteY17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393778 w 3172386"/>
              <a:gd name="connsiteY13" fmla="*/ 385445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571824 w 3172386"/>
              <a:gd name="connsiteY14" fmla="*/ 2901950 h 4575175"/>
              <a:gd name="connsiteX15" fmla="*/ 806528 w 3172386"/>
              <a:gd name="connsiteY15" fmla="*/ 2203451 h 4575175"/>
              <a:gd name="connsiteX16" fmla="*/ 628728 w 3172386"/>
              <a:gd name="connsiteY16" fmla="*/ 1739901 h 4575175"/>
              <a:gd name="connsiteX17" fmla="*/ 336628 w 3172386"/>
              <a:gd name="connsiteY17" fmla="*/ 1460501 h 4575175"/>
              <a:gd name="connsiteX18" fmla="*/ 22549 w 3172386"/>
              <a:gd name="connsiteY18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549 w 3172386"/>
              <a:gd name="connsiteY0" fmla="*/ 574675 h 4575175"/>
              <a:gd name="connsiteX1" fmla="*/ 342978 w 3172386"/>
              <a:gd name="connsiteY1" fmla="*/ 190501 h 4575175"/>
              <a:gd name="connsiteX2" fmla="*/ 870028 w 3172386"/>
              <a:gd name="connsiteY2" fmla="*/ 0 h 4575175"/>
              <a:gd name="connsiteX3" fmla="*/ 1206824 w 3172386"/>
              <a:gd name="connsiteY3" fmla="*/ 47625 h 4575175"/>
              <a:gd name="connsiteX4" fmla="*/ 1555828 w 3172386"/>
              <a:gd name="connsiteY4" fmla="*/ 279401 h 4575175"/>
              <a:gd name="connsiteX5" fmla="*/ 2343228 w 3172386"/>
              <a:gd name="connsiteY5" fmla="*/ 1066800 h 4575175"/>
              <a:gd name="connsiteX6" fmla="*/ 2933779 w 3172386"/>
              <a:gd name="connsiteY6" fmla="*/ 1663701 h 4575175"/>
              <a:gd name="connsiteX7" fmla="*/ 3168729 w 3172386"/>
              <a:gd name="connsiteY7" fmla="*/ 2279651 h 4575175"/>
              <a:gd name="connsiteX8" fmla="*/ 2959179 w 3172386"/>
              <a:gd name="connsiteY8" fmla="*/ 2882901 h 4575175"/>
              <a:gd name="connsiteX9" fmla="*/ 2422849 w 3172386"/>
              <a:gd name="connsiteY9" fmla="*/ 3448050 h 4575175"/>
              <a:gd name="connsiteX10" fmla="*/ 1403674 w 3172386"/>
              <a:gd name="connsiteY10" fmla="*/ 4416425 h 4575175"/>
              <a:gd name="connsiteX11" fmla="*/ 924249 w 3172386"/>
              <a:gd name="connsiteY11" fmla="*/ 4575175 h 4575175"/>
              <a:gd name="connsiteX12" fmla="*/ 323928 w 3172386"/>
              <a:gd name="connsiteY12" fmla="*/ 4292601 h 4575175"/>
              <a:gd name="connsiteX13" fmla="*/ 76278 w 3172386"/>
              <a:gd name="connsiteY13" fmla="*/ 3822701 h 4575175"/>
              <a:gd name="connsiteX14" fmla="*/ 222328 w 3172386"/>
              <a:gd name="connsiteY14" fmla="*/ 3309938 h 4575175"/>
              <a:gd name="connsiteX15" fmla="*/ 571824 w 3172386"/>
              <a:gd name="connsiteY15" fmla="*/ 2901950 h 4575175"/>
              <a:gd name="connsiteX16" fmla="*/ 806528 w 3172386"/>
              <a:gd name="connsiteY16" fmla="*/ 2203451 h 4575175"/>
              <a:gd name="connsiteX17" fmla="*/ 628728 w 3172386"/>
              <a:gd name="connsiteY17" fmla="*/ 1739901 h 4575175"/>
              <a:gd name="connsiteX18" fmla="*/ 336628 w 3172386"/>
              <a:gd name="connsiteY18" fmla="*/ 1460501 h 4575175"/>
              <a:gd name="connsiteX19" fmla="*/ 22549 w 3172386"/>
              <a:gd name="connsiteY19" fmla="*/ 574675 h 4575175"/>
              <a:gd name="connsiteX0" fmla="*/ 22996 w 3163824"/>
              <a:gd name="connsiteY0" fmla="*/ 633232 h 4575175"/>
              <a:gd name="connsiteX1" fmla="*/ 334416 w 3163824"/>
              <a:gd name="connsiteY1" fmla="*/ 190501 h 4575175"/>
              <a:gd name="connsiteX2" fmla="*/ 861466 w 3163824"/>
              <a:gd name="connsiteY2" fmla="*/ 0 h 4575175"/>
              <a:gd name="connsiteX3" fmla="*/ 1198262 w 3163824"/>
              <a:gd name="connsiteY3" fmla="*/ 47625 h 4575175"/>
              <a:gd name="connsiteX4" fmla="*/ 1547266 w 3163824"/>
              <a:gd name="connsiteY4" fmla="*/ 279401 h 4575175"/>
              <a:gd name="connsiteX5" fmla="*/ 2334666 w 3163824"/>
              <a:gd name="connsiteY5" fmla="*/ 1066800 h 4575175"/>
              <a:gd name="connsiteX6" fmla="*/ 2925217 w 3163824"/>
              <a:gd name="connsiteY6" fmla="*/ 1663701 h 4575175"/>
              <a:gd name="connsiteX7" fmla="*/ 3160167 w 3163824"/>
              <a:gd name="connsiteY7" fmla="*/ 2279651 h 4575175"/>
              <a:gd name="connsiteX8" fmla="*/ 2950617 w 3163824"/>
              <a:gd name="connsiteY8" fmla="*/ 2882901 h 4575175"/>
              <a:gd name="connsiteX9" fmla="*/ 2414287 w 3163824"/>
              <a:gd name="connsiteY9" fmla="*/ 3448050 h 4575175"/>
              <a:gd name="connsiteX10" fmla="*/ 1395112 w 3163824"/>
              <a:gd name="connsiteY10" fmla="*/ 4416425 h 4575175"/>
              <a:gd name="connsiteX11" fmla="*/ 915687 w 3163824"/>
              <a:gd name="connsiteY11" fmla="*/ 4575175 h 4575175"/>
              <a:gd name="connsiteX12" fmla="*/ 315366 w 3163824"/>
              <a:gd name="connsiteY12" fmla="*/ 4292601 h 4575175"/>
              <a:gd name="connsiteX13" fmla="*/ 67716 w 3163824"/>
              <a:gd name="connsiteY13" fmla="*/ 3822701 h 4575175"/>
              <a:gd name="connsiteX14" fmla="*/ 213766 w 3163824"/>
              <a:gd name="connsiteY14" fmla="*/ 3309938 h 4575175"/>
              <a:gd name="connsiteX15" fmla="*/ 563262 w 3163824"/>
              <a:gd name="connsiteY15" fmla="*/ 2901950 h 4575175"/>
              <a:gd name="connsiteX16" fmla="*/ 797966 w 3163824"/>
              <a:gd name="connsiteY16" fmla="*/ 2203451 h 4575175"/>
              <a:gd name="connsiteX17" fmla="*/ 620166 w 3163824"/>
              <a:gd name="connsiteY17" fmla="*/ 1739901 h 4575175"/>
              <a:gd name="connsiteX18" fmla="*/ 328066 w 3163824"/>
              <a:gd name="connsiteY18" fmla="*/ 1460501 h 4575175"/>
              <a:gd name="connsiteX19" fmla="*/ 22996 w 3163824"/>
              <a:gd name="connsiteY19" fmla="*/ 633232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28727 w 3172385"/>
              <a:gd name="connsiteY17" fmla="*/ 1739901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597196 w 3172385"/>
              <a:gd name="connsiteY17" fmla="*/ 179395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548 w 3172385"/>
              <a:gd name="connsiteY0" fmla="*/ 606206 h 4575175"/>
              <a:gd name="connsiteX1" fmla="*/ 342977 w 3172385"/>
              <a:gd name="connsiteY1" fmla="*/ 190501 h 4575175"/>
              <a:gd name="connsiteX2" fmla="*/ 870027 w 3172385"/>
              <a:gd name="connsiteY2" fmla="*/ 0 h 4575175"/>
              <a:gd name="connsiteX3" fmla="*/ 1206823 w 3172385"/>
              <a:gd name="connsiteY3" fmla="*/ 47625 h 4575175"/>
              <a:gd name="connsiteX4" fmla="*/ 1555827 w 3172385"/>
              <a:gd name="connsiteY4" fmla="*/ 279401 h 4575175"/>
              <a:gd name="connsiteX5" fmla="*/ 2343227 w 3172385"/>
              <a:gd name="connsiteY5" fmla="*/ 1066800 h 4575175"/>
              <a:gd name="connsiteX6" fmla="*/ 2933778 w 3172385"/>
              <a:gd name="connsiteY6" fmla="*/ 1663701 h 4575175"/>
              <a:gd name="connsiteX7" fmla="*/ 3168728 w 3172385"/>
              <a:gd name="connsiteY7" fmla="*/ 2279651 h 4575175"/>
              <a:gd name="connsiteX8" fmla="*/ 2959178 w 3172385"/>
              <a:gd name="connsiteY8" fmla="*/ 2882901 h 4575175"/>
              <a:gd name="connsiteX9" fmla="*/ 2422848 w 3172385"/>
              <a:gd name="connsiteY9" fmla="*/ 3448050 h 4575175"/>
              <a:gd name="connsiteX10" fmla="*/ 1403673 w 3172385"/>
              <a:gd name="connsiteY10" fmla="*/ 4416425 h 4575175"/>
              <a:gd name="connsiteX11" fmla="*/ 924248 w 3172385"/>
              <a:gd name="connsiteY11" fmla="*/ 4575175 h 4575175"/>
              <a:gd name="connsiteX12" fmla="*/ 323927 w 3172385"/>
              <a:gd name="connsiteY12" fmla="*/ 4292601 h 4575175"/>
              <a:gd name="connsiteX13" fmla="*/ 76277 w 3172385"/>
              <a:gd name="connsiteY13" fmla="*/ 3822701 h 4575175"/>
              <a:gd name="connsiteX14" fmla="*/ 222327 w 3172385"/>
              <a:gd name="connsiteY14" fmla="*/ 3309938 h 4575175"/>
              <a:gd name="connsiteX15" fmla="*/ 571823 w 3172385"/>
              <a:gd name="connsiteY15" fmla="*/ 2901950 h 4575175"/>
              <a:gd name="connsiteX16" fmla="*/ 806527 w 3172385"/>
              <a:gd name="connsiteY16" fmla="*/ 2203451 h 4575175"/>
              <a:gd name="connsiteX17" fmla="*/ 633231 w 3172385"/>
              <a:gd name="connsiteY17" fmla="*/ 1753414 h 4575175"/>
              <a:gd name="connsiteX18" fmla="*/ 336627 w 3172385"/>
              <a:gd name="connsiteY18" fmla="*/ 1460501 h 4575175"/>
              <a:gd name="connsiteX19" fmla="*/ 22548 w 3172385"/>
              <a:gd name="connsiteY19" fmla="*/ 606206 h 4575175"/>
              <a:gd name="connsiteX0" fmla="*/ 22332 w 3172169"/>
              <a:gd name="connsiteY0" fmla="*/ 606206 h 4575175"/>
              <a:gd name="connsiteX1" fmla="*/ 342761 w 3172169"/>
              <a:gd name="connsiteY1" fmla="*/ 190501 h 4575175"/>
              <a:gd name="connsiteX2" fmla="*/ 869811 w 3172169"/>
              <a:gd name="connsiteY2" fmla="*/ 0 h 4575175"/>
              <a:gd name="connsiteX3" fmla="*/ 1206607 w 3172169"/>
              <a:gd name="connsiteY3" fmla="*/ 47625 h 4575175"/>
              <a:gd name="connsiteX4" fmla="*/ 1555611 w 3172169"/>
              <a:gd name="connsiteY4" fmla="*/ 279401 h 4575175"/>
              <a:gd name="connsiteX5" fmla="*/ 2343011 w 3172169"/>
              <a:gd name="connsiteY5" fmla="*/ 1066800 h 4575175"/>
              <a:gd name="connsiteX6" fmla="*/ 2933562 w 3172169"/>
              <a:gd name="connsiteY6" fmla="*/ 1663701 h 4575175"/>
              <a:gd name="connsiteX7" fmla="*/ 3168512 w 3172169"/>
              <a:gd name="connsiteY7" fmla="*/ 2279651 h 4575175"/>
              <a:gd name="connsiteX8" fmla="*/ 2958962 w 3172169"/>
              <a:gd name="connsiteY8" fmla="*/ 2882901 h 4575175"/>
              <a:gd name="connsiteX9" fmla="*/ 2422632 w 3172169"/>
              <a:gd name="connsiteY9" fmla="*/ 3448050 h 4575175"/>
              <a:gd name="connsiteX10" fmla="*/ 1403457 w 3172169"/>
              <a:gd name="connsiteY10" fmla="*/ 4416425 h 4575175"/>
              <a:gd name="connsiteX11" fmla="*/ 924032 w 3172169"/>
              <a:gd name="connsiteY11" fmla="*/ 4575175 h 4575175"/>
              <a:gd name="connsiteX12" fmla="*/ 323711 w 3172169"/>
              <a:gd name="connsiteY12" fmla="*/ 4292601 h 4575175"/>
              <a:gd name="connsiteX13" fmla="*/ 76061 w 3172169"/>
              <a:gd name="connsiteY13" fmla="*/ 3822701 h 4575175"/>
              <a:gd name="connsiteX14" fmla="*/ 222111 w 3172169"/>
              <a:gd name="connsiteY14" fmla="*/ 3309938 h 4575175"/>
              <a:gd name="connsiteX15" fmla="*/ 571607 w 3172169"/>
              <a:gd name="connsiteY15" fmla="*/ 2901950 h 4575175"/>
              <a:gd name="connsiteX16" fmla="*/ 806311 w 3172169"/>
              <a:gd name="connsiteY16" fmla="*/ 2203451 h 4575175"/>
              <a:gd name="connsiteX17" fmla="*/ 633015 w 3172169"/>
              <a:gd name="connsiteY17" fmla="*/ 1753414 h 4575175"/>
              <a:gd name="connsiteX18" fmla="*/ 340915 w 3172169"/>
              <a:gd name="connsiteY18" fmla="*/ 1469510 h 4575175"/>
              <a:gd name="connsiteX19" fmla="*/ 22332 w 3172169"/>
              <a:gd name="connsiteY19" fmla="*/ 606206 h 4575175"/>
              <a:gd name="connsiteX0" fmla="*/ 22747 w 3172584"/>
              <a:gd name="connsiteY0" fmla="*/ 606206 h 4575175"/>
              <a:gd name="connsiteX1" fmla="*/ 343176 w 3172584"/>
              <a:gd name="connsiteY1" fmla="*/ 190501 h 4575175"/>
              <a:gd name="connsiteX2" fmla="*/ 870226 w 3172584"/>
              <a:gd name="connsiteY2" fmla="*/ 0 h 4575175"/>
              <a:gd name="connsiteX3" fmla="*/ 1207022 w 3172584"/>
              <a:gd name="connsiteY3" fmla="*/ 47625 h 4575175"/>
              <a:gd name="connsiteX4" fmla="*/ 1556026 w 3172584"/>
              <a:gd name="connsiteY4" fmla="*/ 279401 h 4575175"/>
              <a:gd name="connsiteX5" fmla="*/ 2343426 w 3172584"/>
              <a:gd name="connsiteY5" fmla="*/ 1066800 h 4575175"/>
              <a:gd name="connsiteX6" fmla="*/ 2933977 w 3172584"/>
              <a:gd name="connsiteY6" fmla="*/ 1663701 h 4575175"/>
              <a:gd name="connsiteX7" fmla="*/ 3168927 w 3172584"/>
              <a:gd name="connsiteY7" fmla="*/ 2279651 h 4575175"/>
              <a:gd name="connsiteX8" fmla="*/ 2959377 w 3172584"/>
              <a:gd name="connsiteY8" fmla="*/ 2882901 h 4575175"/>
              <a:gd name="connsiteX9" fmla="*/ 2423047 w 3172584"/>
              <a:gd name="connsiteY9" fmla="*/ 3448050 h 4575175"/>
              <a:gd name="connsiteX10" fmla="*/ 1403872 w 3172584"/>
              <a:gd name="connsiteY10" fmla="*/ 4416425 h 4575175"/>
              <a:gd name="connsiteX11" fmla="*/ 924447 w 3172584"/>
              <a:gd name="connsiteY11" fmla="*/ 4575175 h 4575175"/>
              <a:gd name="connsiteX12" fmla="*/ 324126 w 3172584"/>
              <a:gd name="connsiteY12" fmla="*/ 4292601 h 4575175"/>
              <a:gd name="connsiteX13" fmla="*/ 76476 w 3172584"/>
              <a:gd name="connsiteY13" fmla="*/ 3822701 h 4575175"/>
              <a:gd name="connsiteX14" fmla="*/ 222526 w 3172584"/>
              <a:gd name="connsiteY14" fmla="*/ 3309938 h 4575175"/>
              <a:gd name="connsiteX15" fmla="*/ 572022 w 3172584"/>
              <a:gd name="connsiteY15" fmla="*/ 2901950 h 4575175"/>
              <a:gd name="connsiteX16" fmla="*/ 806726 w 3172584"/>
              <a:gd name="connsiteY16" fmla="*/ 2203451 h 4575175"/>
              <a:gd name="connsiteX17" fmla="*/ 633430 w 3172584"/>
              <a:gd name="connsiteY17" fmla="*/ 1753414 h 4575175"/>
              <a:gd name="connsiteX18" fmla="*/ 341330 w 3172584"/>
              <a:gd name="connsiteY18" fmla="*/ 1469510 h 4575175"/>
              <a:gd name="connsiteX19" fmla="*/ 22747 w 3172584"/>
              <a:gd name="connsiteY19" fmla="*/ 606206 h 4575175"/>
              <a:gd name="connsiteX0" fmla="*/ 21541 w 3171378"/>
              <a:gd name="connsiteY0" fmla="*/ 606206 h 4575175"/>
              <a:gd name="connsiteX1" fmla="*/ 341970 w 3171378"/>
              <a:gd name="connsiteY1" fmla="*/ 190501 h 4575175"/>
              <a:gd name="connsiteX2" fmla="*/ 869020 w 3171378"/>
              <a:gd name="connsiteY2" fmla="*/ 0 h 4575175"/>
              <a:gd name="connsiteX3" fmla="*/ 1205816 w 3171378"/>
              <a:gd name="connsiteY3" fmla="*/ 47625 h 4575175"/>
              <a:gd name="connsiteX4" fmla="*/ 1554820 w 3171378"/>
              <a:gd name="connsiteY4" fmla="*/ 279401 h 4575175"/>
              <a:gd name="connsiteX5" fmla="*/ 2342220 w 3171378"/>
              <a:gd name="connsiteY5" fmla="*/ 1066800 h 4575175"/>
              <a:gd name="connsiteX6" fmla="*/ 2932771 w 3171378"/>
              <a:gd name="connsiteY6" fmla="*/ 1663701 h 4575175"/>
              <a:gd name="connsiteX7" fmla="*/ 3167721 w 3171378"/>
              <a:gd name="connsiteY7" fmla="*/ 2279651 h 4575175"/>
              <a:gd name="connsiteX8" fmla="*/ 2958171 w 3171378"/>
              <a:gd name="connsiteY8" fmla="*/ 2882901 h 4575175"/>
              <a:gd name="connsiteX9" fmla="*/ 2421841 w 3171378"/>
              <a:gd name="connsiteY9" fmla="*/ 3448050 h 4575175"/>
              <a:gd name="connsiteX10" fmla="*/ 1402666 w 3171378"/>
              <a:gd name="connsiteY10" fmla="*/ 4416425 h 4575175"/>
              <a:gd name="connsiteX11" fmla="*/ 923241 w 3171378"/>
              <a:gd name="connsiteY11" fmla="*/ 4575175 h 4575175"/>
              <a:gd name="connsiteX12" fmla="*/ 322920 w 3171378"/>
              <a:gd name="connsiteY12" fmla="*/ 4292601 h 4575175"/>
              <a:gd name="connsiteX13" fmla="*/ 75270 w 3171378"/>
              <a:gd name="connsiteY13" fmla="*/ 3822701 h 4575175"/>
              <a:gd name="connsiteX14" fmla="*/ 221320 w 3171378"/>
              <a:gd name="connsiteY14" fmla="*/ 3309938 h 4575175"/>
              <a:gd name="connsiteX15" fmla="*/ 570816 w 3171378"/>
              <a:gd name="connsiteY15" fmla="*/ 2901950 h 4575175"/>
              <a:gd name="connsiteX16" fmla="*/ 805520 w 3171378"/>
              <a:gd name="connsiteY16" fmla="*/ 2203451 h 4575175"/>
              <a:gd name="connsiteX17" fmla="*/ 632224 w 3171378"/>
              <a:gd name="connsiteY17" fmla="*/ 1753414 h 4575175"/>
              <a:gd name="connsiteX18" fmla="*/ 340124 w 3171378"/>
              <a:gd name="connsiteY18" fmla="*/ 1469510 h 4575175"/>
              <a:gd name="connsiteX19" fmla="*/ 21541 w 3171378"/>
              <a:gd name="connsiteY19" fmla="*/ 606206 h 4575175"/>
              <a:gd name="connsiteX0" fmla="*/ 7707 w 3157544"/>
              <a:gd name="connsiteY0" fmla="*/ 606206 h 4575175"/>
              <a:gd name="connsiteX1" fmla="*/ 328136 w 3157544"/>
              <a:gd name="connsiteY1" fmla="*/ 190501 h 4575175"/>
              <a:gd name="connsiteX2" fmla="*/ 855186 w 3157544"/>
              <a:gd name="connsiteY2" fmla="*/ 0 h 4575175"/>
              <a:gd name="connsiteX3" fmla="*/ 1191982 w 3157544"/>
              <a:gd name="connsiteY3" fmla="*/ 47625 h 4575175"/>
              <a:gd name="connsiteX4" fmla="*/ 1540986 w 3157544"/>
              <a:gd name="connsiteY4" fmla="*/ 279401 h 4575175"/>
              <a:gd name="connsiteX5" fmla="*/ 2328386 w 3157544"/>
              <a:gd name="connsiteY5" fmla="*/ 1066800 h 4575175"/>
              <a:gd name="connsiteX6" fmla="*/ 2918937 w 3157544"/>
              <a:gd name="connsiteY6" fmla="*/ 1663701 h 4575175"/>
              <a:gd name="connsiteX7" fmla="*/ 3153887 w 3157544"/>
              <a:gd name="connsiteY7" fmla="*/ 2279651 h 4575175"/>
              <a:gd name="connsiteX8" fmla="*/ 2944337 w 3157544"/>
              <a:gd name="connsiteY8" fmla="*/ 2882901 h 4575175"/>
              <a:gd name="connsiteX9" fmla="*/ 2408007 w 3157544"/>
              <a:gd name="connsiteY9" fmla="*/ 3448050 h 4575175"/>
              <a:gd name="connsiteX10" fmla="*/ 1388832 w 3157544"/>
              <a:gd name="connsiteY10" fmla="*/ 4416425 h 4575175"/>
              <a:gd name="connsiteX11" fmla="*/ 909407 w 3157544"/>
              <a:gd name="connsiteY11" fmla="*/ 4575175 h 4575175"/>
              <a:gd name="connsiteX12" fmla="*/ 309086 w 3157544"/>
              <a:gd name="connsiteY12" fmla="*/ 4292601 h 4575175"/>
              <a:gd name="connsiteX13" fmla="*/ 61436 w 3157544"/>
              <a:gd name="connsiteY13" fmla="*/ 3822701 h 4575175"/>
              <a:gd name="connsiteX14" fmla="*/ 207486 w 3157544"/>
              <a:gd name="connsiteY14" fmla="*/ 3309938 h 4575175"/>
              <a:gd name="connsiteX15" fmla="*/ 556982 w 3157544"/>
              <a:gd name="connsiteY15" fmla="*/ 2901950 h 4575175"/>
              <a:gd name="connsiteX16" fmla="*/ 791686 w 3157544"/>
              <a:gd name="connsiteY16" fmla="*/ 2203451 h 4575175"/>
              <a:gd name="connsiteX17" fmla="*/ 618390 w 3157544"/>
              <a:gd name="connsiteY17" fmla="*/ 1753414 h 4575175"/>
              <a:gd name="connsiteX18" fmla="*/ 326290 w 3157544"/>
              <a:gd name="connsiteY18" fmla="*/ 1469510 h 4575175"/>
              <a:gd name="connsiteX19" fmla="*/ 118243 w 3157544"/>
              <a:gd name="connsiteY19" fmla="*/ 1272964 h 4575175"/>
              <a:gd name="connsiteX20" fmla="*/ 7707 w 3157544"/>
              <a:gd name="connsiteY20" fmla="*/ 606206 h 4575175"/>
              <a:gd name="connsiteX0" fmla="*/ 7180 w 3157017"/>
              <a:gd name="connsiteY0" fmla="*/ 606206 h 4575175"/>
              <a:gd name="connsiteX1" fmla="*/ 327609 w 3157017"/>
              <a:gd name="connsiteY1" fmla="*/ 190501 h 4575175"/>
              <a:gd name="connsiteX2" fmla="*/ 854659 w 3157017"/>
              <a:gd name="connsiteY2" fmla="*/ 0 h 4575175"/>
              <a:gd name="connsiteX3" fmla="*/ 1191455 w 3157017"/>
              <a:gd name="connsiteY3" fmla="*/ 47625 h 4575175"/>
              <a:gd name="connsiteX4" fmla="*/ 1540459 w 3157017"/>
              <a:gd name="connsiteY4" fmla="*/ 279401 h 4575175"/>
              <a:gd name="connsiteX5" fmla="*/ 2327859 w 3157017"/>
              <a:gd name="connsiteY5" fmla="*/ 1066800 h 4575175"/>
              <a:gd name="connsiteX6" fmla="*/ 2918410 w 3157017"/>
              <a:gd name="connsiteY6" fmla="*/ 1663701 h 4575175"/>
              <a:gd name="connsiteX7" fmla="*/ 3153360 w 3157017"/>
              <a:gd name="connsiteY7" fmla="*/ 2279651 h 4575175"/>
              <a:gd name="connsiteX8" fmla="*/ 2943810 w 3157017"/>
              <a:gd name="connsiteY8" fmla="*/ 2882901 h 4575175"/>
              <a:gd name="connsiteX9" fmla="*/ 2407480 w 3157017"/>
              <a:gd name="connsiteY9" fmla="*/ 3448050 h 4575175"/>
              <a:gd name="connsiteX10" fmla="*/ 1388305 w 3157017"/>
              <a:gd name="connsiteY10" fmla="*/ 4416425 h 4575175"/>
              <a:gd name="connsiteX11" fmla="*/ 908880 w 3157017"/>
              <a:gd name="connsiteY11" fmla="*/ 4575175 h 4575175"/>
              <a:gd name="connsiteX12" fmla="*/ 308559 w 3157017"/>
              <a:gd name="connsiteY12" fmla="*/ 4292601 h 4575175"/>
              <a:gd name="connsiteX13" fmla="*/ 60909 w 3157017"/>
              <a:gd name="connsiteY13" fmla="*/ 3822701 h 4575175"/>
              <a:gd name="connsiteX14" fmla="*/ 206959 w 3157017"/>
              <a:gd name="connsiteY14" fmla="*/ 3309938 h 4575175"/>
              <a:gd name="connsiteX15" fmla="*/ 556455 w 3157017"/>
              <a:gd name="connsiteY15" fmla="*/ 2901950 h 4575175"/>
              <a:gd name="connsiteX16" fmla="*/ 791159 w 3157017"/>
              <a:gd name="connsiteY16" fmla="*/ 2203451 h 4575175"/>
              <a:gd name="connsiteX17" fmla="*/ 617863 w 3157017"/>
              <a:gd name="connsiteY17" fmla="*/ 1753414 h 4575175"/>
              <a:gd name="connsiteX18" fmla="*/ 325763 w 3157017"/>
              <a:gd name="connsiteY18" fmla="*/ 1469510 h 4575175"/>
              <a:gd name="connsiteX19" fmla="*/ 126725 w 3157017"/>
              <a:gd name="connsiteY19" fmla="*/ 1245938 h 4575175"/>
              <a:gd name="connsiteX20" fmla="*/ 7180 w 3157017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808782 w 3174640"/>
              <a:gd name="connsiteY16" fmla="*/ 2203451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99773 w 3174640"/>
              <a:gd name="connsiteY16" fmla="*/ 2221468 h 4575175"/>
              <a:gd name="connsiteX17" fmla="*/ 635486 w 3174640"/>
              <a:gd name="connsiteY17" fmla="*/ 1753414 h 4575175"/>
              <a:gd name="connsiteX18" fmla="*/ 343386 w 3174640"/>
              <a:gd name="connsiteY18" fmla="*/ 1469510 h 4575175"/>
              <a:gd name="connsiteX19" fmla="*/ 144348 w 3174640"/>
              <a:gd name="connsiteY19" fmla="*/ 1245938 h 4575175"/>
              <a:gd name="connsiteX20" fmla="*/ 24803 w 3174640"/>
              <a:gd name="connsiteY20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20915 w 3174640"/>
              <a:gd name="connsiteY16" fmla="*/ 2583755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78532 w 3174640"/>
              <a:gd name="connsiteY13" fmla="*/ 3822701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05928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07416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  <a:gd name="connsiteX0" fmla="*/ 24803 w 3174640"/>
              <a:gd name="connsiteY0" fmla="*/ 606206 h 4575175"/>
              <a:gd name="connsiteX1" fmla="*/ 345232 w 3174640"/>
              <a:gd name="connsiteY1" fmla="*/ 190501 h 4575175"/>
              <a:gd name="connsiteX2" fmla="*/ 872282 w 3174640"/>
              <a:gd name="connsiteY2" fmla="*/ 0 h 4575175"/>
              <a:gd name="connsiteX3" fmla="*/ 1209078 w 3174640"/>
              <a:gd name="connsiteY3" fmla="*/ 47625 h 4575175"/>
              <a:gd name="connsiteX4" fmla="*/ 1558082 w 3174640"/>
              <a:gd name="connsiteY4" fmla="*/ 279401 h 4575175"/>
              <a:gd name="connsiteX5" fmla="*/ 2345482 w 3174640"/>
              <a:gd name="connsiteY5" fmla="*/ 1066800 h 4575175"/>
              <a:gd name="connsiteX6" fmla="*/ 2936033 w 3174640"/>
              <a:gd name="connsiteY6" fmla="*/ 1663701 h 4575175"/>
              <a:gd name="connsiteX7" fmla="*/ 3170983 w 3174640"/>
              <a:gd name="connsiteY7" fmla="*/ 2279651 h 4575175"/>
              <a:gd name="connsiteX8" fmla="*/ 2961433 w 3174640"/>
              <a:gd name="connsiteY8" fmla="*/ 2882901 h 4575175"/>
              <a:gd name="connsiteX9" fmla="*/ 2425103 w 3174640"/>
              <a:gd name="connsiteY9" fmla="*/ 3448050 h 4575175"/>
              <a:gd name="connsiteX10" fmla="*/ 1423945 w 3174640"/>
              <a:gd name="connsiteY10" fmla="*/ 4416425 h 4575175"/>
              <a:gd name="connsiteX11" fmla="*/ 926503 w 3174640"/>
              <a:gd name="connsiteY11" fmla="*/ 4575175 h 4575175"/>
              <a:gd name="connsiteX12" fmla="*/ 326182 w 3174640"/>
              <a:gd name="connsiteY12" fmla="*/ 4292601 h 4575175"/>
              <a:gd name="connsiteX13" fmla="*/ 87541 w 3174640"/>
              <a:gd name="connsiteY13" fmla="*/ 3831710 h 4575175"/>
              <a:gd name="connsiteX14" fmla="*/ 224582 w 3174640"/>
              <a:gd name="connsiteY14" fmla="*/ 3309938 h 4575175"/>
              <a:gd name="connsiteX15" fmla="*/ 574078 w 3174640"/>
              <a:gd name="connsiteY15" fmla="*/ 2901950 h 4575175"/>
              <a:gd name="connsiteX16" fmla="*/ 747941 w 3174640"/>
              <a:gd name="connsiteY16" fmla="*/ 2592764 h 4575175"/>
              <a:gd name="connsiteX17" fmla="*/ 799773 w 3174640"/>
              <a:gd name="connsiteY17" fmla="*/ 2221468 h 4575175"/>
              <a:gd name="connsiteX18" fmla="*/ 635486 w 3174640"/>
              <a:gd name="connsiteY18" fmla="*/ 1753414 h 4575175"/>
              <a:gd name="connsiteX19" fmla="*/ 343386 w 3174640"/>
              <a:gd name="connsiteY19" fmla="*/ 1469510 h 4575175"/>
              <a:gd name="connsiteX20" fmla="*/ 144348 w 3174640"/>
              <a:gd name="connsiteY20" fmla="*/ 1245938 h 4575175"/>
              <a:gd name="connsiteX21" fmla="*/ 24803 w 3174640"/>
              <a:gd name="connsiteY21" fmla="*/ 606206 h 457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4640" h="4575175">
                <a:moveTo>
                  <a:pt x="24803" y="606206"/>
                </a:moveTo>
                <a:cubicBezTo>
                  <a:pt x="125263" y="342139"/>
                  <a:pt x="225722" y="286809"/>
                  <a:pt x="345232" y="190501"/>
                </a:cubicBezTo>
                <a:cubicBezTo>
                  <a:pt x="609815" y="6351"/>
                  <a:pt x="747399" y="19050"/>
                  <a:pt x="872282" y="0"/>
                </a:cubicBezTo>
                <a:cubicBezTo>
                  <a:pt x="1009947" y="3175"/>
                  <a:pt x="1103163" y="6350"/>
                  <a:pt x="1209078" y="47625"/>
                </a:cubicBezTo>
                <a:cubicBezTo>
                  <a:pt x="1323378" y="97367"/>
                  <a:pt x="1368681" y="109539"/>
                  <a:pt x="1558082" y="279401"/>
                </a:cubicBezTo>
                <a:cubicBezTo>
                  <a:pt x="1664933" y="385763"/>
                  <a:pt x="2023179" y="738717"/>
                  <a:pt x="2345482" y="1066800"/>
                </a:cubicBezTo>
                <a:cubicBezTo>
                  <a:pt x="2562441" y="1305983"/>
                  <a:pt x="2792100" y="1499659"/>
                  <a:pt x="2936033" y="1663701"/>
                </a:cubicBezTo>
                <a:cubicBezTo>
                  <a:pt x="3060916" y="1821393"/>
                  <a:pt x="3198988" y="1990726"/>
                  <a:pt x="3170983" y="2279651"/>
                </a:cubicBezTo>
                <a:cubicBezTo>
                  <a:pt x="3174158" y="2459568"/>
                  <a:pt x="3130196" y="2656418"/>
                  <a:pt x="2961433" y="2882901"/>
                </a:cubicBezTo>
                <a:cubicBezTo>
                  <a:pt x="2779970" y="3083984"/>
                  <a:pt x="2683296" y="3169179"/>
                  <a:pt x="2425103" y="3448050"/>
                </a:cubicBezTo>
                <a:cubicBezTo>
                  <a:pt x="2085378" y="3770842"/>
                  <a:pt x="1577456" y="4305248"/>
                  <a:pt x="1423945" y="4416425"/>
                </a:cubicBezTo>
                <a:cubicBezTo>
                  <a:pt x="1264137" y="4513792"/>
                  <a:pt x="1117091" y="4570994"/>
                  <a:pt x="926503" y="4575175"/>
                </a:cubicBezTo>
                <a:cubicBezTo>
                  <a:pt x="760586" y="4565974"/>
                  <a:pt x="551689" y="4513792"/>
                  <a:pt x="326182" y="4292601"/>
                </a:cubicBezTo>
                <a:cubicBezTo>
                  <a:pt x="224582" y="4167718"/>
                  <a:pt x="95142" y="3979991"/>
                  <a:pt x="87541" y="3831710"/>
                </a:cubicBezTo>
                <a:cubicBezTo>
                  <a:pt x="74028" y="3613139"/>
                  <a:pt x="142032" y="3466042"/>
                  <a:pt x="224582" y="3309938"/>
                </a:cubicBezTo>
                <a:cubicBezTo>
                  <a:pt x="366481" y="3129492"/>
                  <a:pt x="387729" y="3095096"/>
                  <a:pt x="574078" y="2901950"/>
                </a:cubicBezTo>
                <a:cubicBezTo>
                  <a:pt x="656800" y="2780920"/>
                  <a:pt x="692307" y="2737709"/>
                  <a:pt x="747941" y="2592764"/>
                </a:cubicBezTo>
                <a:cubicBezTo>
                  <a:pt x="772043" y="2492863"/>
                  <a:pt x="805002" y="2386884"/>
                  <a:pt x="799773" y="2221468"/>
                </a:cubicBezTo>
                <a:cubicBezTo>
                  <a:pt x="779744" y="1998341"/>
                  <a:pt x="738660" y="1938002"/>
                  <a:pt x="635486" y="1753414"/>
                </a:cubicBezTo>
                <a:cubicBezTo>
                  <a:pt x="563645" y="1664785"/>
                  <a:pt x="442254" y="1567148"/>
                  <a:pt x="343386" y="1469510"/>
                </a:cubicBezTo>
                <a:cubicBezTo>
                  <a:pt x="260028" y="1389435"/>
                  <a:pt x="251498" y="1394326"/>
                  <a:pt x="144348" y="1245938"/>
                </a:cubicBezTo>
                <a:cubicBezTo>
                  <a:pt x="-34873" y="1025479"/>
                  <a:pt x="-10179" y="786616"/>
                  <a:pt x="24803" y="606206"/>
                </a:cubicBezTo>
                <a:close/>
              </a:path>
            </a:pathLst>
          </a:custGeom>
          <a:solidFill>
            <a:schemeClr val="bg1">
              <a:lumMod val="50000"/>
              <a:alpha val="73000"/>
            </a:schemeClr>
          </a:solidFill>
          <a:effectLst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487057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B6B078F-6B5B-4649-88CA-4457B64650BC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AEDA168-4692-CA42-BBA4-95BEA61E2029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1B1B357-5070-E64B-B2AB-C7A6C8B0EA88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7CDEDFB-DE1D-2548-81F8-5F67B8B5B0A4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B120519-01C4-DF4A-9C1A-EF81D2EAD132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C268B67-8824-404D-90A8-5FC453F23DD8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99406D-50EC-C74A-BE89-235970598E07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Text colo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68DB5F2-1918-AD47-B02B-3F1311BB9011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97B3ABF-B225-9240-BE8E-E95B0968FFB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Brand colo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B81795-551B-B14E-B662-85CFEDDA1217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t>color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63DADCE-D593-2B4C-ACB9-3FC9C22734E1}"/>
              </a:ext>
            </a:extLst>
          </p:cNvPr>
          <p:cNvGrpSpPr/>
          <p:nvPr userDrawn="1"/>
        </p:nvGrpSpPr>
        <p:grpSpPr>
          <a:xfrm>
            <a:off x="3215678" y="2940163"/>
            <a:ext cx="5361606" cy="875744"/>
            <a:chOff x="3242838" y="3018288"/>
            <a:chExt cx="5361606" cy="87574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DC84A69-80E3-194A-AEB4-140592EB20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2838" y="3018288"/>
              <a:ext cx="2247900" cy="875744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84A5E78-5DD6-3141-ACA9-462B3D026C09}"/>
                </a:ext>
              </a:extLst>
            </p:cNvPr>
            <p:cNvSpPr txBox="1"/>
            <p:nvPr userDrawn="1"/>
          </p:nvSpPr>
          <p:spPr>
            <a:xfrm>
              <a:off x="6170125" y="3192211"/>
              <a:ext cx="2434319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Medium" pitchFamily="2" charset="0"/>
                  <a:cs typeface="Gotham Medium" pitchFamily="2" charset="0"/>
                </a:rPr>
                <a:t>beyond tomorrow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Medium" pitchFamily="2" charset="0"/>
                <a:cs typeface="Gotham Medium" pitchFamily="2" charset="0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CCB8ED5-85E8-6D42-BE05-EF3E861F038E}"/>
                </a:ext>
              </a:extLst>
            </p:cNvPr>
            <p:cNvCxnSpPr/>
            <p:nvPr userDrawn="1"/>
          </p:nvCxnSpPr>
          <p:spPr>
            <a:xfrm>
              <a:off x="5830431" y="3018288"/>
              <a:ext cx="0" cy="875744"/>
            </a:xfrm>
            <a:prstGeom prst="line">
              <a:avLst/>
            </a:prstGeom>
            <a:noFill/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388449F-E0A6-6D4C-9487-635724AAE6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577895"/>
            <a:ext cx="2923419" cy="2801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itchFamily="2" charset="0"/>
                <a:cs typeface="Gotham Medium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© 2019-2020 </a:t>
            </a:r>
            <a:r>
              <a:rPr kumimoji="0" lang="en-IN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Medium" pitchFamily="2" charset="0"/>
              </a:rPr>
              <a:t>Sterlite Technologies Limited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Medium" pitchFamily="2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47AEC7C1-0153-0D4F-BA3B-DA473D3B60E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71867" cy="246221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Gotham Medium" pitchFamily="2" charset="0"/>
                <a:cs typeface="Gotham Medium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IN" sz="1000" b="0" i="0" u="none" strike="noStrike" kern="1200" cap="none" spc="0" normalizeH="0" baseline="0" noProof="0" smtClean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Gotham Medium" pitchFamily="2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Gotham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6285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43CBA1E-3BF5-4E22-B046-1DBDB881C5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0196" y="5602270"/>
            <a:ext cx="2174684" cy="453773"/>
          </a:xfrm>
          <a:prstGeom prst="rect">
            <a:avLst/>
          </a:prstGeom>
        </p:spPr>
      </p:pic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CFE4B822-7163-4FB1-B200-81284C130CCD}"/>
              </a:ext>
            </a:extLst>
          </p:cNvPr>
          <p:cNvSpPr/>
          <p:nvPr userDrawn="1"/>
        </p:nvSpPr>
        <p:spPr>
          <a:xfrm flipH="1">
            <a:off x="749147" y="760164"/>
            <a:ext cx="7590622" cy="531013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AEEC81-7D64-4CA9-87DC-FF0D7D8D3C3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59345" y="2368504"/>
            <a:ext cx="10233891" cy="1815882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None/>
              <a:defRPr sz="115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title line two</a:t>
            </a:r>
          </a:p>
        </p:txBody>
      </p:sp>
    </p:spTree>
    <p:extLst>
      <p:ext uri="{BB962C8B-B14F-4D97-AF65-F5344CB8AC3E}">
        <p14:creationId xmlns:p14="http://schemas.microsoft.com/office/powerpoint/2010/main" val="33360175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463429602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&amp;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257;p9" descr="Pexels Videos 2257256.mp4">
            <a:extLst>
              <a:ext uri="{FF2B5EF4-FFF2-40B4-BE49-F238E27FC236}">
                <a16:creationId xmlns:a16="http://schemas.microsoft.com/office/drawing/2014/main" id="{3C9CF11C-DBC0-52DC-2982-1F8E1523927E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4314;p19">
            <a:extLst>
              <a:ext uri="{FF2B5EF4-FFF2-40B4-BE49-F238E27FC236}">
                <a16:creationId xmlns:a16="http://schemas.microsoft.com/office/drawing/2014/main" id="{9FD2B120-D3B5-E6A7-6680-8D530DF999E6}"/>
              </a:ext>
            </a:extLst>
          </p:cNvPr>
          <p:cNvSpPr/>
          <p:nvPr userDrawn="1"/>
        </p:nvSpPr>
        <p:spPr>
          <a:xfrm>
            <a:off x="0" y="0"/>
            <a:ext cx="12179418" cy="6858000"/>
          </a:xfrm>
          <a:prstGeom prst="rect">
            <a:avLst/>
          </a:prstGeom>
          <a:gradFill flip="none" rotWithShape="1">
            <a:gsLst>
              <a:gs pos="0">
                <a:srgbClr val="021C4D">
                  <a:alpha val="30000"/>
                </a:srgbClr>
              </a:gs>
              <a:gs pos="99000">
                <a:srgbClr val="002060"/>
              </a:gs>
            </a:gsLst>
            <a:lin ang="0" scaled="1"/>
            <a:tileRect/>
          </a:gradFill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C89746-4787-DCC4-A198-885F578FA5BF}"/>
              </a:ext>
            </a:extLst>
          </p:cNvPr>
          <p:cNvSpPr txBox="1"/>
          <p:nvPr userDrawn="1"/>
        </p:nvSpPr>
        <p:spPr>
          <a:xfrm>
            <a:off x="-166255" y="4476997"/>
            <a:ext cx="923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119392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318839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290321259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_Blac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7D0BD23-98C8-4433-A690-6C84A588925A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961DDB-246D-4348-96FA-20904289D65A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65BEBFE-70DF-4397-93F9-3D67BC1AF8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92068" y="6602145"/>
            <a:ext cx="626225" cy="1305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F69569D-B9AF-468B-A0C1-5ECB9C4E0926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837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Black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EFD75-F0B1-4FE6-BE2A-B57DB53E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35947" cy="549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892E15C-EE81-4340-9239-499D6A3E46F0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BDA61D2C-8E1F-47E1-84F6-9625DF953CD0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B0CA5B6-0010-4AB1-9FA2-C35050D68C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92068" y="6602145"/>
            <a:ext cx="626225" cy="1305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ED90B10-7730-42EA-8805-FCB51371874A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810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4B2CB-C566-4823-AC93-423B71167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35947" cy="549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C4621D-7B60-441D-B4B1-DE9D87E987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852" y="1034473"/>
            <a:ext cx="11535947" cy="5449454"/>
          </a:xfrm>
        </p:spPr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200150" indent="-285750">
              <a:buFont typeface="Arial" panose="020B0604020202020204" pitchFamily="34" charset="0"/>
              <a:buChar char="–"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 marL="2000250" indent="-1714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0481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Text_No­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38E2B227-9F26-4269-ABB9-1B17EB26B64A}"/>
              </a:ext>
            </a:extLst>
          </p:cNvPr>
          <p:cNvSpPr/>
          <p:nvPr userDrawn="1"/>
        </p:nvSpPr>
        <p:spPr>
          <a:xfrm>
            <a:off x="224468" y="226800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34B2CB-C566-4823-AC93-423B71167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35947" cy="549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C4621D-7B60-441D-B4B1-DE9D87E987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2852" y="1034473"/>
            <a:ext cx="11535947" cy="5695936"/>
          </a:xfrm>
        </p:spPr>
        <p:txBody>
          <a:bodyPr/>
          <a:lstStyle>
            <a:lvl2pPr marL="800100" indent="-342900">
              <a:buFont typeface="Courier New" panose="02070309020205020404" pitchFamily="49" charset="0"/>
              <a:buChar char="o"/>
              <a:defRPr/>
            </a:lvl2pPr>
            <a:lvl3pPr marL="1200150" indent="-285750">
              <a:buFont typeface="Arial" panose="020B0604020202020204" pitchFamily="34" charset="0"/>
              <a:buChar char="–"/>
              <a:defRPr/>
            </a:lvl3pPr>
            <a:lvl4pPr marL="1543050" indent="-171450">
              <a:buFont typeface="Arial" panose="020B0604020202020204" pitchFamily="34" charset="0"/>
              <a:buChar char="•"/>
              <a:defRPr/>
            </a:lvl4pPr>
            <a:lvl5pPr marL="2000250" indent="-1714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47744D-6DA1-9174-E83A-5E3EF68E50B2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717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7E67A5E-23F8-4802-8327-4CBC45C27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907376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White_No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DDC193CD-2309-441C-AE1E-EA0162798559}"/>
              </a:ext>
            </a:extLst>
          </p:cNvPr>
          <p:cNvSpPr/>
          <p:nvPr userDrawn="1"/>
        </p:nvSpPr>
        <p:spPr>
          <a:xfrm>
            <a:off x="224468" y="226800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7E67A5E-23F8-4802-8327-4CBC45C27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6A2E7F-8A11-6EA2-F5AA-6D9615F325A2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333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Hig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DDC193CD-2309-441C-AE1E-EA0162798559}"/>
              </a:ext>
            </a:extLst>
          </p:cNvPr>
          <p:cNvSpPr/>
          <p:nvPr userDrawn="1"/>
        </p:nvSpPr>
        <p:spPr>
          <a:xfrm>
            <a:off x="224468" y="5129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7E67A5E-23F8-4802-8327-4CBC45C27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72968"/>
            <a:ext cx="11637548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66EDF5-70F5-0FE8-46A8-8B4F770EB6CD}"/>
              </a:ext>
            </a:extLst>
          </p:cNvPr>
          <p:cNvSpPr txBox="1"/>
          <p:nvPr userDrawn="1"/>
        </p:nvSpPr>
        <p:spPr>
          <a:xfrm>
            <a:off x="11513417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776675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0.sv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3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g object 16">
            <a:extLst>
              <a:ext uri="{FF2B5EF4-FFF2-40B4-BE49-F238E27FC236}">
                <a16:creationId xmlns:a16="http://schemas.microsoft.com/office/drawing/2014/main" id="{0169C6E2-B770-44F5-9E67-A5BEC9492ECF}"/>
              </a:ext>
            </a:extLst>
          </p:cNvPr>
          <p:cNvSpPr/>
          <p:nvPr userDrawn="1"/>
        </p:nvSpPr>
        <p:spPr>
          <a:xfrm>
            <a:off x="224468" y="226800"/>
            <a:ext cx="680720" cy="680720"/>
          </a:xfrm>
          <a:custGeom>
            <a:avLst/>
            <a:gdLst/>
            <a:ahLst/>
            <a:cxnLst/>
            <a:rect l="l" t="t" r="r" b="b"/>
            <a:pathLst>
              <a:path w="680719" h="680719">
                <a:moveTo>
                  <a:pt x="335838" y="0"/>
                </a:moveTo>
                <a:lnTo>
                  <a:pt x="286209" y="3641"/>
                </a:lnTo>
                <a:lnTo>
                  <a:pt x="238842" y="14220"/>
                </a:lnTo>
                <a:lnTo>
                  <a:pt x="194255" y="31217"/>
                </a:lnTo>
                <a:lnTo>
                  <a:pt x="152968" y="54111"/>
                </a:lnTo>
                <a:lnTo>
                  <a:pt x="115501" y="82383"/>
                </a:lnTo>
                <a:lnTo>
                  <a:pt x="82373" y="115514"/>
                </a:lnTo>
                <a:lnTo>
                  <a:pt x="54104" y="152983"/>
                </a:lnTo>
                <a:lnTo>
                  <a:pt x="31212" y="194271"/>
                </a:lnTo>
                <a:lnTo>
                  <a:pt x="14218" y="238858"/>
                </a:lnTo>
                <a:lnTo>
                  <a:pt x="3641" y="286225"/>
                </a:lnTo>
                <a:lnTo>
                  <a:pt x="0" y="335851"/>
                </a:lnTo>
                <a:lnTo>
                  <a:pt x="0" y="339915"/>
                </a:lnTo>
                <a:lnTo>
                  <a:pt x="3106" y="386099"/>
                </a:lnTo>
                <a:lnTo>
                  <a:pt x="12157" y="430393"/>
                </a:lnTo>
                <a:lnTo>
                  <a:pt x="26745" y="472393"/>
                </a:lnTo>
                <a:lnTo>
                  <a:pt x="46465" y="511693"/>
                </a:lnTo>
                <a:lnTo>
                  <a:pt x="70912" y="547888"/>
                </a:lnTo>
                <a:lnTo>
                  <a:pt x="99680" y="580572"/>
                </a:lnTo>
                <a:lnTo>
                  <a:pt x="132364" y="609340"/>
                </a:lnTo>
                <a:lnTo>
                  <a:pt x="168558" y="633786"/>
                </a:lnTo>
                <a:lnTo>
                  <a:pt x="207856" y="653506"/>
                </a:lnTo>
                <a:lnTo>
                  <a:pt x="249853" y="668093"/>
                </a:lnTo>
                <a:lnTo>
                  <a:pt x="294143" y="677143"/>
                </a:lnTo>
                <a:lnTo>
                  <a:pt x="340321" y="680250"/>
                </a:lnTo>
                <a:lnTo>
                  <a:pt x="680237" y="680250"/>
                </a:lnTo>
                <a:lnTo>
                  <a:pt x="680237" y="344398"/>
                </a:lnTo>
                <a:lnTo>
                  <a:pt x="677093" y="297665"/>
                </a:lnTo>
                <a:lnTo>
                  <a:pt x="667935" y="252843"/>
                </a:lnTo>
                <a:lnTo>
                  <a:pt x="653173" y="210342"/>
                </a:lnTo>
                <a:lnTo>
                  <a:pt x="633217" y="170573"/>
                </a:lnTo>
                <a:lnTo>
                  <a:pt x="608478" y="133946"/>
                </a:lnTo>
                <a:lnTo>
                  <a:pt x="579366" y="100871"/>
                </a:lnTo>
                <a:lnTo>
                  <a:pt x="546291" y="71759"/>
                </a:lnTo>
                <a:lnTo>
                  <a:pt x="509664" y="47020"/>
                </a:lnTo>
                <a:lnTo>
                  <a:pt x="469895" y="27064"/>
                </a:lnTo>
                <a:lnTo>
                  <a:pt x="427394" y="12302"/>
                </a:lnTo>
                <a:lnTo>
                  <a:pt x="382572" y="3143"/>
                </a:lnTo>
                <a:lnTo>
                  <a:pt x="335838" y="0"/>
                </a:lnTo>
                <a:close/>
              </a:path>
            </a:pathLst>
          </a:custGeom>
          <a:solidFill>
            <a:srgbClr val="D1D4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40927A7-7A0C-45CE-B38F-6D858B2E4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294639"/>
            <a:ext cx="11565441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0430C2B-7B64-49F8-81DD-F900626B5EFA}"/>
              </a:ext>
            </a:extLst>
          </p:cNvPr>
          <p:cNvSpPr/>
          <p:nvPr userDrawn="1"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BE4BF21-AB5A-4944-91CA-0FA9411B73AE}"/>
              </a:ext>
            </a:extLst>
          </p:cNvPr>
          <p:cNvSpPr/>
          <p:nvPr userDrawn="1"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B256354-C003-4D58-8233-4CB2BCC8B7C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92068" y="6602145"/>
            <a:ext cx="626225" cy="13053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315BCE4-D35B-49B3-8D8F-6E5360F8FBAD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A3760A3-9146-428E-A4CA-C767294A69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852" y="1089890"/>
            <a:ext cx="11565440" cy="53617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895350" lvl="1" indent="-3603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/>
              <a:t>Second level</a:t>
            </a:r>
          </a:p>
          <a:p>
            <a:pPr marL="1200150" lvl="2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625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Tx/>
        <a:buBlip>
          <a:blip r:embed="rId14"/>
        </a:buBlip>
        <a:defRPr lang="en-US" sz="2400" kern="1200" dirty="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000" kern="1200" dirty="0">
          <a:solidFill>
            <a:schemeClr val="accent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lang="en-GB" sz="16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phic 23">
            <a:extLst>
              <a:ext uri="{FF2B5EF4-FFF2-40B4-BE49-F238E27FC236}">
                <a16:creationId xmlns:a16="http://schemas.microsoft.com/office/drawing/2014/main" id="{8994A9ED-0E3A-442B-AA22-77DF9EC493A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270862" y="267311"/>
            <a:ext cx="1058848" cy="1058848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61D6823-AFE9-4A49-87FE-5ACEEF1CD8E0}"/>
              </a:ext>
            </a:extLst>
          </p:cNvPr>
          <p:cNvSpPr/>
          <p:nvPr/>
        </p:nvSpPr>
        <p:spPr>
          <a:xfrm>
            <a:off x="1" y="6515266"/>
            <a:ext cx="11107293" cy="342735"/>
          </a:xfrm>
          <a:custGeom>
            <a:avLst/>
            <a:gdLst>
              <a:gd name="connsiteX0" fmla="*/ 0 w 11107293"/>
              <a:gd name="connsiteY0" fmla="*/ 0 h 342735"/>
              <a:gd name="connsiteX1" fmla="*/ 10838690 w 11107293"/>
              <a:gd name="connsiteY1" fmla="*/ 0 h 342735"/>
              <a:gd name="connsiteX2" fmla="*/ 11107293 w 11107293"/>
              <a:gd name="connsiteY2" fmla="*/ 268602 h 342735"/>
              <a:gd name="connsiteX3" fmla="*/ 11107293 w 11107293"/>
              <a:gd name="connsiteY3" fmla="*/ 342735 h 342735"/>
              <a:gd name="connsiteX4" fmla="*/ 0 w 11107293"/>
              <a:gd name="connsiteY4" fmla="*/ 342735 h 342735"/>
              <a:gd name="connsiteX5" fmla="*/ 0 w 11107293"/>
              <a:gd name="connsiteY5" fmla="*/ 0 h 34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7293" h="342735">
                <a:moveTo>
                  <a:pt x="0" y="0"/>
                </a:moveTo>
                <a:lnTo>
                  <a:pt x="10838690" y="0"/>
                </a:lnTo>
                <a:cubicBezTo>
                  <a:pt x="10986950" y="0"/>
                  <a:pt x="11107293" y="120207"/>
                  <a:pt x="11107293" y="268602"/>
                </a:cubicBezTo>
                <a:lnTo>
                  <a:pt x="11107293" y="342735"/>
                </a:lnTo>
                <a:lnTo>
                  <a:pt x="0" y="342735"/>
                </a:lnTo>
                <a:lnTo>
                  <a:pt x="0" y="0"/>
                </a:ln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DC9642D-2859-4AA7-942B-A73550BBB474}"/>
              </a:ext>
            </a:extLst>
          </p:cNvPr>
          <p:cNvSpPr/>
          <p:nvPr/>
        </p:nvSpPr>
        <p:spPr>
          <a:xfrm>
            <a:off x="11106343" y="6515266"/>
            <a:ext cx="1085657" cy="365604"/>
          </a:xfrm>
          <a:custGeom>
            <a:avLst/>
            <a:gdLst>
              <a:gd name="connsiteX0" fmla="*/ 273887 w 1085657"/>
              <a:gd name="connsiteY0" fmla="*/ 0 h 365604"/>
              <a:gd name="connsiteX1" fmla="*/ 1085657 w 1085657"/>
              <a:gd name="connsiteY1" fmla="*/ 0 h 365604"/>
              <a:gd name="connsiteX2" fmla="*/ 1085657 w 1085657"/>
              <a:gd name="connsiteY2" fmla="*/ 342734 h 365604"/>
              <a:gd name="connsiteX3" fmla="*/ 950 w 1085657"/>
              <a:gd name="connsiteY3" fmla="*/ 342734 h 365604"/>
              <a:gd name="connsiteX4" fmla="*/ 950 w 1085657"/>
              <a:gd name="connsiteY4" fmla="*/ 365604 h 365604"/>
              <a:gd name="connsiteX5" fmla="*/ 0 w 1085657"/>
              <a:gd name="connsiteY5" fmla="*/ 365604 h 365604"/>
              <a:gd name="connsiteX6" fmla="*/ 0 w 1085657"/>
              <a:gd name="connsiteY6" fmla="*/ 273887 h 365604"/>
              <a:gd name="connsiteX7" fmla="*/ 273887 w 1085657"/>
              <a:gd name="connsiteY7" fmla="*/ 0 h 36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5657" h="365604">
                <a:moveTo>
                  <a:pt x="273887" y="0"/>
                </a:moveTo>
                <a:lnTo>
                  <a:pt x="1085657" y="0"/>
                </a:lnTo>
                <a:lnTo>
                  <a:pt x="1085657" y="342734"/>
                </a:lnTo>
                <a:lnTo>
                  <a:pt x="950" y="342734"/>
                </a:lnTo>
                <a:lnTo>
                  <a:pt x="950" y="365604"/>
                </a:lnTo>
                <a:lnTo>
                  <a:pt x="0" y="365604"/>
                </a:lnTo>
                <a:lnTo>
                  <a:pt x="0" y="273887"/>
                </a:lnTo>
                <a:cubicBezTo>
                  <a:pt x="0" y="122646"/>
                  <a:pt x="122646" y="0"/>
                  <a:pt x="273887" y="0"/>
                </a:cubicBezTo>
                <a:close/>
              </a:path>
            </a:pathLst>
          </a:custGeom>
          <a:solidFill>
            <a:srgbClr val="EDEEF0"/>
          </a:solidFill>
          <a:ln w="1354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5DE8AB-37AF-499F-97E2-17D9CE3DB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852" y="473549"/>
            <a:ext cx="9816909" cy="5492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A7E4068-3BBC-45B6-897A-E4914C4DFF3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1106343" y="267311"/>
            <a:ext cx="928539" cy="46195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DC8891-3B14-AE71-E20A-B07554F551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A515E0-F62B-0E32-0754-88E9EBDD057B}"/>
              </a:ext>
            </a:extLst>
          </p:cNvPr>
          <p:cNvSpPr txBox="1"/>
          <p:nvPr userDrawn="1"/>
        </p:nvSpPr>
        <p:spPr>
          <a:xfrm>
            <a:off x="10437092" y="6567263"/>
            <a:ext cx="67425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9CF728AB-3CFD-45BF-ABDE-FEDAF7F3D777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691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9" r:id="rId2"/>
    <p:sldLayoutId id="2147483790" r:id="rId3"/>
    <p:sldLayoutId id="2147483791" r:id="rId4"/>
    <p:sldLayoutId id="2147483803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Tx/>
        <a:buBlip>
          <a:blip r:embed="rId11"/>
        </a:buBlip>
        <a:defRPr sz="1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47675" indent="-1778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25475" indent="-1778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1905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778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orient="horz" pos="3521">
          <p15:clr>
            <a:srgbClr val="F26B43"/>
          </p15:clr>
        </p15:guide>
        <p15:guide id="4" pos="6992">
          <p15:clr>
            <a:srgbClr val="F26B43"/>
          </p15:clr>
        </p15:guide>
        <p15:guide id="5" pos="347">
          <p15:clr>
            <a:srgbClr val="F26B43"/>
          </p15:clr>
        </p15:guide>
        <p15:guide id="6" pos="665">
          <p15:clr>
            <a:srgbClr val="F26B43"/>
          </p15:clr>
        </p15:guide>
        <p15:guide id="7" orient="horz" pos="346">
          <p15:clr>
            <a:srgbClr val="F26B43"/>
          </p15:clr>
        </p15:guide>
        <p15:guide id="9" orient="horz" pos="935">
          <p15:clr>
            <a:srgbClr val="F26B43"/>
          </p15:clr>
        </p15:guide>
        <p15:guide id="10" pos="597">
          <p15:clr>
            <a:srgbClr val="F26B43"/>
          </p15:clr>
        </p15:guide>
        <p15:guide id="11" orient="horz" pos="10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C1B52D-7485-264C-B4F3-6A96EBB94E64}" type="datetime3">
              <a:rPr kumimoji="0" lang="en-IN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December 2022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mplimentary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1605713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8" r:id="rId3"/>
    <p:sldLayoutId id="2147483810" r:id="rId4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46249" y="6642855"/>
            <a:ext cx="245751" cy="22570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11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CB1658E-5C68-CB43-BACB-788A5B641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DF0C4F-9045-3548-9802-128CB5B0C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8713" y="1906476"/>
            <a:ext cx="10563285" cy="3674397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2CF39F0-44BA-E647-AA99-658BDDE79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71467" y="749850"/>
            <a:ext cx="235112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0AC1B52D-7485-264C-B4F3-6A96EBB94E64}" type="datetime3">
              <a:rPr lang="en-IN" smtClean="0"/>
              <a:pPr/>
              <a:t>13 December 2022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307519A-E37F-4748-9265-06035F60EDA4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401688B-5BBF-494D-A11B-601370B2C360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A4F81A8-2C73-3246-8DF2-B7994515FA87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A9F8BC5-62B8-154A-8456-2FF4CA07D3B9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783601-7305-E24D-BE5B-DCE43F9C003B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196B8D-1B4E-4B47-9FDA-4B816603B824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5BE025-9E92-B24D-B3B5-E5C787C7D036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ext colo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3F16BB-3F8A-7744-842C-5CEE50C7ECC4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B9ED89-C260-6545-B790-2DD3B26ED527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Brand col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699DF4-495D-5342-BA47-C4329DE33F7D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mplimentary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400459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Calibri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chemeClr val="tx1">
              <a:lumMod val="85000"/>
              <a:lumOff val="15000"/>
            </a:schemeClr>
          </a:solidFill>
          <a:effectLst>
            <a:outerShdw sx="1000" sy="1000" algn="ctr" rotWithShape="0">
              <a:schemeClr val="tx1"/>
            </a:outerShdw>
          </a:effectLst>
          <a:uFillTx/>
          <a:latin typeface="Arial" panose="020B0604020202020204" pitchFamily="34" charset="0"/>
          <a:ea typeface="+mn-ea"/>
          <a:cs typeface="Arial" panose="020B0604020202020204" pitchFamily="34" charset="0"/>
          <a:sym typeface="Calibri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26" Type="http://schemas.openxmlformats.org/officeDocument/2006/relationships/image" Target="../media/image43.png"/><Relationship Id="rId3" Type="http://schemas.openxmlformats.org/officeDocument/2006/relationships/image" Target="../media/image20.png"/><Relationship Id="rId21" Type="http://schemas.openxmlformats.org/officeDocument/2006/relationships/image" Target="../media/image38.jpe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5" Type="http://schemas.openxmlformats.org/officeDocument/2006/relationships/image" Target="../media/image42.pn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20" Type="http://schemas.openxmlformats.org/officeDocument/2006/relationships/image" Target="../media/image37.png"/><Relationship Id="rId29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11" Type="http://schemas.openxmlformats.org/officeDocument/2006/relationships/image" Target="../media/image28.jfif"/><Relationship Id="rId24" Type="http://schemas.openxmlformats.org/officeDocument/2006/relationships/image" Target="../media/image41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23" Type="http://schemas.openxmlformats.org/officeDocument/2006/relationships/image" Target="../media/image40.png"/><Relationship Id="rId28" Type="http://schemas.openxmlformats.org/officeDocument/2006/relationships/image" Target="../media/image45.png"/><Relationship Id="rId10" Type="http://schemas.openxmlformats.org/officeDocument/2006/relationships/image" Target="../media/image27.png"/><Relationship Id="rId19" Type="http://schemas.openxmlformats.org/officeDocument/2006/relationships/image" Target="../media/image36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Relationship Id="rId22" Type="http://schemas.openxmlformats.org/officeDocument/2006/relationships/image" Target="../media/image39.png"/><Relationship Id="rId27" Type="http://schemas.openxmlformats.org/officeDocument/2006/relationships/image" Target="../media/image4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drive.google.com/file/d/1klPsuYGLWbbapEh88EfDwVKXKz3OibK5/view" TargetMode="Externa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B7D281-9AAA-C0FE-E707-123712502ED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4800" dirty="0" smtClean="0"/>
              <a:t>STL ODA Components</a:t>
            </a:r>
            <a:endParaRPr lang="en-US" sz="4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39F629-1338-8D40-1DD2-400587BFBD09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dirty="0" smtClean="0"/>
              <a:t>Network Software Wireless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F085D73-9D9D-85D7-018C-F50599ACB50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IN" dirty="0" smtClean="0"/>
              <a:t>STL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CF6FBB-69E9-B585-0E53-BB96DA10BAA0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 smtClean="0"/>
              <a:t>09-Dec-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22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C42CC2-836C-8F5D-1F68-789451F26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5511E2-01FB-A61C-FE55-CB22A64349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TL Digital BSS ODA Components Architecture</a:t>
            </a:r>
          </a:p>
          <a:p>
            <a:r>
              <a:rPr lang="en-US" dirty="0"/>
              <a:t>ODA Canvas on STL Cloud Native </a:t>
            </a:r>
            <a:r>
              <a:rPr lang="en-US" dirty="0" smtClean="0"/>
              <a:t>Platform (CNP) for Private Telco Clouds</a:t>
            </a:r>
          </a:p>
          <a:p>
            <a:r>
              <a:rPr lang="en-US" dirty="0" smtClean="0"/>
              <a:t>STL Digital Policy Control &amp; Charging (dPCC) </a:t>
            </a:r>
            <a:r>
              <a:rPr lang="en-US" dirty="0"/>
              <a:t>:</a:t>
            </a:r>
            <a:r>
              <a:rPr lang="en-US" dirty="0" smtClean="0"/>
              <a:t> Product Rating and Service Balance Management ODA Components</a:t>
            </a:r>
            <a:endParaRPr lang="en-US" dirty="0"/>
          </a:p>
          <a:p>
            <a:pPr lvl="1"/>
            <a:r>
              <a:rPr lang="en-US" dirty="0" smtClean="0"/>
              <a:t>Demonstration of STL dPCC Compliance to ODA Canvas L1, L2 Tests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359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52852" y="261458"/>
            <a:ext cx="10222834" cy="800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TL Digital BSS ODA Components Architecture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854869" y="1062012"/>
            <a:ext cx="8282448" cy="5766912"/>
            <a:chOff x="694574" y="1062012"/>
            <a:chExt cx="8282448" cy="576691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0616" y="1062012"/>
              <a:ext cx="8240880" cy="400963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4574" y="5055604"/>
              <a:ext cx="8282448" cy="1773320"/>
            </a:xfrm>
            <a:prstGeom prst="rect">
              <a:avLst/>
            </a:prstGeom>
          </p:spPr>
        </p:pic>
      </p:grpSp>
      <p:sp>
        <p:nvSpPr>
          <p:cNvPr id="10" name="Text Placeholder 2"/>
          <p:cNvSpPr txBox="1">
            <a:spLocks/>
          </p:cNvSpPr>
          <p:nvPr/>
        </p:nvSpPr>
        <p:spPr>
          <a:xfrm>
            <a:off x="452852" y="1209087"/>
            <a:ext cx="3418059" cy="5194670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 lnSpcReduction="10000"/>
          </a:bodyPr>
          <a:lstStyle>
            <a:lvl1pPr marL="228600" marR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sx="1000" sy="1000" algn="ctr" rotWithShape="0">
                    <a:schemeClr val="tx1"/>
                  </a:outerShdw>
                </a:effectLst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1pPr>
            <a:lvl2pPr marL="723900" marR="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sx="1000" sy="1000" algn="ctr" rotWithShape="0">
                    <a:schemeClr val="tx1"/>
                  </a:outerShdw>
                </a:effectLst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2pPr>
            <a:lvl3pPr marL="1234439" marR="0" indent="-320039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sx="1000" sy="1000" algn="ctr" rotWithShape="0">
                    <a:schemeClr val="tx1"/>
                  </a:outerShdw>
                </a:effectLst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3pPr>
            <a:lvl4pPr marL="1727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sx="1000" sy="1000" algn="ctr" rotWithShape="0">
                    <a:schemeClr val="tx1"/>
                  </a:outerShdw>
                </a:effectLst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4pPr>
            <a:lvl5pPr marL="21844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sx="1000" sy="1000" algn="ctr" rotWithShape="0">
                    <a:schemeClr val="tx1"/>
                  </a:outerShdw>
                </a:effectLst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5pPr>
            <a:lvl6pPr marL="26416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0988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560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13200" marR="0" indent="-355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360363" marR="0" lvl="0" indent="-360363" fontAlgn="auto">
              <a:lnSpc>
                <a:spcPct val="14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Blip>
                <a:blip r:embed="rId4"/>
              </a:buBlip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Representation across Engagement Management, Integration, Party Management, Core Commerce Management, Production and Intelligence Management (Blue Hexagons in STL Scope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cs typeface="+mn-cs"/>
              </a:rPr>
              <a:t>)</a:t>
            </a:r>
          </a:p>
          <a:p>
            <a:pPr marL="360363" lvl="0" indent="-360363">
              <a:lnSpc>
                <a:spcPct val="140000"/>
              </a:lnSpc>
              <a:spcBef>
                <a:spcPts val="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TMF Open API and ODA Component Accelerator Participant </a:t>
            </a:r>
          </a:p>
          <a:p>
            <a:pPr marL="360363" lvl="0" indent="-360363">
              <a:lnSpc>
                <a:spcPct val="140000"/>
              </a:lnSpc>
              <a:spcBef>
                <a:spcPts val="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Deployment of ODA Canvas on STL Cloud Native Platform (CNP)</a:t>
            </a:r>
          </a:p>
          <a:p>
            <a:pPr marL="360363" lvl="0" indent="-360363">
              <a:lnSpc>
                <a:spcPct val="140000"/>
              </a:lnSpc>
              <a:spcBef>
                <a:spcPts val="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Compliant with TMF ODA L1-Static, Dynamic and L2-Static, L2-Dynamic 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cs typeface="+mn-cs"/>
              </a:rPr>
              <a:t>requirements. </a:t>
            </a: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(Golden Component Proof of Concept with 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cs typeface="+mn-cs"/>
              </a:rPr>
              <a:t>TMF Certified STL TMF </a:t>
            </a: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654 Prepay Balance Management 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cs typeface="+mn-cs"/>
              </a:rPr>
              <a:t>in dPCC Service </a:t>
            </a: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Balance Mgt ODA 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cs typeface="+mn-cs"/>
              </a:rPr>
              <a:t>Component – TMFC013)</a:t>
            </a:r>
            <a:endParaRPr lang="en-US" sz="1200" dirty="0">
              <a:solidFill>
                <a:schemeClr val="accent1"/>
              </a:solidFill>
              <a:latin typeface="+mn-lt"/>
              <a:cs typeface="+mn-cs"/>
            </a:endParaRPr>
          </a:p>
          <a:p>
            <a:pPr marL="360363" lvl="0" indent="-360363">
              <a:lnSpc>
                <a:spcPct val="140000"/>
              </a:lnSpc>
              <a:spcBef>
                <a:spcPts val="0"/>
              </a:spcBef>
              <a:spcAft>
                <a:spcPts val="600"/>
              </a:spcAft>
              <a:buBlip>
                <a:blip r:embed="rId4"/>
              </a:buBlip>
              <a:defRPr/>
            </a:pPr>
            <a:r>
              <a:rPr lang="en-US" sz="1200" dirty="0">
                <a:solidFill>
                  <a:schemeClr val="accent1"/>
                </a:solidFill>
                <a:latin typeface="+mn-lt"/>
                <a:cs typeface="+mn-cs"/>
              </a:rPr>
              <a:t>Contribution to ODA Canvas Integration on Private Telco Clouds beyond Public 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cs typeface="+mn-cs"/>
              </a:rPr>
              <a:t>Clouds</a:t>
            </a:r>
            <a:endParaRPr lang="en-US" sz="1200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01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52852" y="294639"/>
            <a:ext cx="11637548" cy="549275"/>
          </a:xfrm>
        </p:spPr>
        <p:txBody>
          <a:bodyPr>
            <a:normAutofit fontScale="90000"/>
          </a:bodyPr>
          <a:lstStyle/>
          <a:p>
            <a:r>
              <a:rPr lang="en-US" dirty="0"/>
              <a:t>ODA Canvas on STL Cloud Native </a:t>
            </a:r>
            <a:r>
              <a:rPr lang="en-US" dirty="0" smtClean="0"/>
              <a:t>Platform (CNP) for Private Telco Clouds</a:t>
            </a:r>
            <a:endParaRPr lang="en-US" dirty="0"/>
          </a:p>
        </p:txBody>
      </p:sp>
      <p:sp>
        <p:nvSpPr>
          <p:cNvPr id="5" name="Google Shape;2042;p79"/>
          <p:cNvSpPr txBox="1">
            <a:spLocks/>
          </p:cNvSpPr>
          <p:nvPr/>
        </p:nvSpPr>
        <p:spPr>
          <a:xfrm>
            <a:off x="908906" y="692740"/>
            <a:ext cx="9605902" cy="29982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1" vert="horz" wrap="square" lIns="91425" tIns="45700" rIns="91425" bIns="45700" rtlCol="0" anchor="ctr" anchorCtr="0">
            <a:normAutofit fontScale="97500"/>
          </a:bodyPr>
          <a:lstStyle>
            <a:lvl1pPr marL="0" marR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Calibri Light"/>
              </a:defRPr>
            </a:lvl1pPr>
            <a:lvl2pPr marL="0" marR="0" lvl="1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lvl="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lvl="3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lvl="4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lvl="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lvl="6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lvl="7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lvl="8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26984"/>
              <a:buFont typeface="Calibri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cs typeface="Calibri"/>
                <a:sym typeface="Calibri Light"/>
              </a:rPr>
              <a:t>Run all application workloads on STL CNP with ODA Canvas Kubernetes Operators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cs typeface="Calibri"/>
              <a:sym typeface="Calibri Ligh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63793" y="1062153"/>
            <a:ext cx="11409163" cy="5381181"/>
            <a:chOff x="165307" y="1054091"/>
            <a:chExt cx="11715805" cy="5681006"/>
          </a:xfrm>
        </p:grpSpPr>
        <p:sp>
          <p:nvSpPr>
            <p:cNvPr id="6" name="Google Shape;2055;p79"/>
            <p:cNvSpPr/>
            <p:nvPr/>
          </p:nvSpPr>
          <p:spPr>
            <a:xfrm>
              <a:off x="839758" y="3551821"/>
              <a:ext cx="10392508" cy="295131"/>
            </a:xfrm>
            <a:prstGeom prst="roundRect">
              <a:avLst>
                <a:gd name="adj" fmla="val 16667"/>
              </a:avLst>
            </a:prstGeom>
            <a:noFill/>
            <a:ln w="127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endPara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1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Monitoring, Alerting, Logging, Tracing, Service Mesh, Messaging, Caching, IAM, Message Queues, Security, API GW, Load Balancer, Container Packaging, Container </a:t>
              </a: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Registry Service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endParaRPr kumimoji="0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4093317" y="3794487"/>
              <a:ext cx="3154154" cy="314131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17238" y="3824405"/>
              <a:ext cx="528184" cy="150910"/>
            </a:xfrm>
            <a:prstGeom prst="rect">
              <a:avLst/>
            </a:prstGeom>
          </p:spPr>
        </p:pic>
        <p:sp>
          <p:nvSpPr>
            <p:cNvPr id="9" name="Google Shape;2045;p79"/>
            <p:cNvSpPr/>
            <p:nvPr/>
          </p:nvSpPr>
          <p:spPr>
            <a:xfrm>
              <a:off x="6346623" y="5314589"/>
              <a:ext cx="2404087" cy="142050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2044;p79"/>
            <p:cNvSpPr/>
            <p:nvPr/>
          </p:nvSpPr>
          <p:spPr>
            <a:xfrm>
              <a:off x="177423" y="6076033"/>
              <a:ext cx="5977572" cy="65906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2045;p79"/>
            <p:cNvSpPr/>
            <p:nvPr/>
          </p:nvSpPr>
          <p:spPr>
            <a:xfrm>
              <a:off x="177422" y="5174384"/>
              <a:ext cx="5977573" cy="620378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2048;p79"/>
            <p:cNvSpPr/>
            <p:nvPr/>
          </p:nvSpPr>
          <p:spPr>
            <a:xfrm>
              <a:off x="312281" y="5845420"/>
              <a:ext cx="970671" cy="24219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IaaS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3" name="Google Shape;2049;p79"/>
            <p:cNvSpPr/>
            <p:nvPr/>
          </p:nvSpPr>
          <p:spPr>
            <a:xfrm>
              <a:off x="354143" y="5102817"/>
              <a:ext cx="970671" cy="21177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IaaS+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4" name="Google Shape;2050;p79"/>
            <p:cNvSpPr/>
            <p:nvPr/>
          </p:nvSpPr>
          <p:spPr>
            <a:xfrm>
              <a:off x="177421" y="2687466"/>
              <a:ext cx="11694898" cy="1474681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5" name="Google Shape;2052;p79"/>
            <p:cNvSpPr/>
            <p:nvPr/>
          </p:nvSpPr>
          <p:spPr>
            <a:xfrm>
              <a:off x="239572" y="1166055"/>
              <a:ext cx="11641540" cy="145932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6" name="Google Shape;2053;p79"/>
            <p:cNvSpPr/>
            <p:nvPr/>
          </p:nvSpPr>
          <p:spPr>
            <a:xfrm>
              <a:off x="354143" y="1054091"/>
              <a:ext cx="3071310" cy="35169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Application Workloads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7" name="Google Shape;2054;p79"/>
            <p:cNvSpPr/>
            <p:nvPr/>
          </p:nvSpPr>
          <p:spPr>
            <a:xfrm>
              <a:off x="395282" y="1471552"/>
              <a:ext cx="1775341" cy="93631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Enterprise Applications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(Cloud Native Applications)</a:t>
              </a: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2055;p79"/>
            <p:cNvSpPr/>
            <p:nvPr/>
          </p:nvSpPr>
          <p:spPr>
            <a:xfrm>
              <a:off x="2265527" y="1471551"/>
              <a:ext cx="2019869" cy="936315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19" name="Google Shape;2056;p79"/>
            <p:cNvSpPr/>
            <p:nvPr/>
          </p:nvSpPr>
          <p:spPr>
            <a:xfrm>
              <a:off x="4359090" y="1468670"/>
              <a:ext cx="1823345" cy="914986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20" name="Google Shape;2057;p79"/>
            <p:cNvSpPr/>
            <p:nvPr/>
          </p:nvSpPr>
          <p:spPr>
            <a:xfrm>
              <a:off x="8052179" y="1448084"/>
              <a:ext cx="1924334" cy="959782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21" name="Google Shape;2058;p79"/>
            <p:cNvSpPr/>
            <p:nvPr/>
          </p:nvSpPr>
          <p:spPr>
            <a:xfrm>
              <a:off x="6285242" y="1471550"/>
              <a:ext cx="1658250" cy="936316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SDN-NFV Applications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1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(CNFs)</a:t>
              </a: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22" name="Google Shape;2065;p7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119168" y="5314589"/>
              <a:ext cx="691089" cy="4515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Google Shape;2066;p79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95282" y="5317314"/>
              <a:ext cx="1395427" cy="40315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" name="Google Shape;2067;p79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389" y="6180385"/>
              <a:ext cx="733425" cy="533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Google Shape;2068;p79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674196" y="6160720"/>
              <a:ext cx="695325" cy="533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Google Shape;2069;p79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688856" y="6188577"/>
              <a:ext cx="1073485" cy="49893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7" name="Google Shape;2058;p79"/>
            <p:cNvSpPr/>
            <p:nvPr/>
          </p:nvSpPr>
          <p:spPr>
            <a:xfrm>
              <a:off x="4121380" y="6125100"/>
              <a:ext cx="1895961" cy="572183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COTS Server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28" name="Google Shape;2045;p79"/>
            <p:cNvSpPr/>
            <p:nvPr/>
          </p:nvSpPr>
          <p:spPr>
            <a:xfrm>
              <a:off x="8951562" y="5314589"/>
              <a:ext cx="2920758" cy="1420508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2049;p79"/>
            <p:cNvSpPr/>
            <p:nvPr/>
          </p:nvSpPr>
          <p:spPr>
            <a:xfrm>
              <a:off x="9320819" y="5186973"/>
              <a:ext cx="1906558" cy="30151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ublic Cloud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370378" y="5591755"/>
              <a:ext cx="844970" cy="545749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503646" y="5572749"/>
              <a:ext cx="913114" cy="472244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13945" y="6174902"/>
              <a:ext cx="779660" cy="48060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2644" y="6066055"/>
              <a:ext cx="994633" cy="609949"/>
            </a:xfrm>
            <a:prstGeom prst="rect">
              <a:avLst/>
            </a:prstGeom>
          </p:spPr>
        </p:pic>
        <p:sp>
          <p:nvSpPr>
            <p:cNvPr id="34" name="Google Shape;2049;p79"/>
            <p:cNvSpPr/>
            <p:nvPr/>
          </p:nvSpPr>
          <p:spPr>
            <a:xfrm>
              <a:off x="6554514" y="5173157"/>
              <a:ext cx="1906558" cy="3143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rivate Cloud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35" name="Google Shape;2058;p79"/>
            <p:cNvSpPr/>
            <p:nvPr/>
          </p:nvSpPr>
          <p:spPr>
            <a:xfrm>
              <a:off x="3660071" y="5373139"/>
              <a:ext cx="2086789" cy="348895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Any Virtualization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36" name="Google Shape;2058;p79"/>
            <p:cNvSpPr/>
            <p:nvPr/>
          </p:nvSpPr>
          <p:spPr>
            <a:xfrm>
              <a:off x="6554514" y="5647077"/>
              <a:ext cx="1967803" cy="791687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Virtual Private Cloud</a:t>
              </a:r>
            </a:p>
          </p:txBody>
        </p:sp>
        <p:sp>
          <p:nvSpPr>
            <p:cNvPr id="37" name="Google Shape;2057;p79"/>
            <p:cNvSpPr/>
            <p:nvPr/>
          </p:nvSpPr>
          <p:spPr>
            <a:xfrm>
              <a:off x="10069541" y="1448084"/>
              <a:ext cx="1658250" cy="959782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64BE"/>
                  </a:solidFill>
                  <a:effectLst/>
                  <a:uLnTx/>
                  <a:uFillTx/>
                  <a:latin typeface="Calibri"/>
                  <a:cs typeface="Calibri"/>
                </a:rPr>
                <a:t>API Manager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064B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1AE9EBE-C28F-4225-8C46-F69A624984D5}"/>
                </a:ext>
              </a:extLst>
            </p:cNvPr>
            <p:cNvGrpSpPr/>
            <p:nvPr/>
          </p:nvGrpSpPr>
          <p:grpSpPr>
            <a:xfrm>
              <a:off x="1810718" y="2742435"/>
              <a:ext cx="10011596" cy="876195"/>
              <a:chOff x="1810718" y="3213059"/>
              <a:chExt cx="10011596" cy="876195"/>
            </a:xfrm>
          </p:grpSpPr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77677" y="3575849"/>
                <a:ext cx="910867" cy="353820"/>
              </a:xfrm>
              <a:prstGeom prst="rect">
                <a:avLst/>
              </a:prstGeom>
            </p:spPr>
          </p:pic>
          <p:pic>
            <p:nvPicPr>
              <p:cNvPr id="40" name="Picture 39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11396" y="3445116"/>
                <a:ext cx="682709" cy="644138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10718" y="3425558"/>
                <a:ext cx="1257824" cy="659588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58160" y="3514777"/>
                <a:ext cx="1141786" cy="32921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20260" y="3596359"/>
                <a:ext cx="283008" cy="326763"/>
              </a:xfrm>
              <a:prstGeom prst="rect">
                <a:avLst/>
              </a:prstGeom>
            </p:spPr>
          </p:pic>
          <p:sp>
            <p:nvSpPr>
              <p:cNvPr id="44" name="TextBox 43"/>
              <p:cNvSpPr txBox="1"/>
              <p:nvPr/>
            </p:nvSpPr>
            <p:spPr>
              <a:xfrm>
                <a:off x="10115242" y="3564534"/>
                <a:ext cx="501163" cy="369332"/>
              </a:xfrm>
              <a:prstGeom prst="rect">
                <a:avLst/>
              </a:prstGeom>
              <a:solidFill>
                <a:srgbClr val="FFFFFF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algn="ctr">
                  <a:buSzPts val="1800"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1pPr>
                <a:lvl2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2pPr>
                <a:lvl3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3pPr>
                <a:lvl4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4pPr>
                <a:lvl5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5pPr>
                <a:lvl6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6pPr>
                <a:lvl7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7pPr>
                <a:lvl8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8pPr>
                <a:lvl9pPr>
                  <a:defRPr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ts val="1800"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CI/CD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pic>
            <p:nvPicPr>
              <p:cNvPr id="45" name="Picture 44"/>
              <p:cNvPicPr>
                <a:picLocks noChangeAspect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9630" t="53535" r="19999" b="37886"/>
              <a:stretch/>
            </p:blipFill>
            <p:spPr>
              <a:xfrm>
                <a:off x="4950092" y="3523011"/>
                <a:ext cx="811170" cy="492494"/>
              </a:xfrm>
              <a:prstGeom prst="rect">
                <a:avLst/>
              </a:prstGeom>
            </p:spPr>
          </p:pic>
          <p:pic>
            <p:nvPicPr>
              <p:cNvPr id="46" name="Picture 2" descr="Apache ActiveMQ - Wikipedia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79851" y="3385562"/>
                <a:ext cx="1061997" cy="5463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 rotWithShape="1">
              <a:blip r:embed="rId19"/>
              <a:srcRect t="26616" b="25384"/>
              <a:stretch/>
            </p:blipFill>
            <p:spPr>
              <a:xfrm>
                <a:off x="5991613" y="3756069"/>
                <a:ext cx="602639" cy="289267"/>
              </a:xfrm>
              <a:prstGeom prst="rect">
                <a:avLst/>
              </a:prstGeom>
            </p:spPr>
          </p:pic>
          <p:pic>
            <p:nvPicPr>
              <p:cNvPr id="48" name="Picture 6" descr="In-memory Computing Platform Hazelcast Raises $28.5m | Financial IT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1848" y="3213059"/>
                <a:ext cx="659423" cy="6594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9" name="Picture 8" descr="HashiCorp on Twitter: &amp;quot;Ambassador API gateway and Consul provide a complete  solution for traffic management in your hybrid cloud, across #k8s and  legacy infrastructure. Learn more about the latest integration in this"/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8177" t="27846" r="24131" b="27693"/>
              <a:stretch/>
            </p:blipFill>
            <p:spPr bwMode="auto">
              <a:xfrm>
                <a:off x="8534327" y="3465924"/>
                <a:ext cx="433835" cy="5451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531" t="60843" r="32229" b="28353"/>
              <a:stretch/>
            </p:blipFill>
            <p:spPr>
              <a:xfrm>
                <a:off x="8976953" y="3439547"/>
                <a:ext cx="650631" cy="597877"/>
              </a:xfrm>
              <a:prstGeom prst="rect">
                <a:avLst/>
              </a:prstGeom>
            </p:spPr>
          </p:pic>
          <p:pic>
            <p:nvPicPr>
              <p:cNvPr id="51" name="Picture 50"/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11094786" y="3663537"/>
                <a:ext cx="727528" cy="206832"/>
              </a:xfrm>
              <a:prstGeom prst="rect">
                <a:avLst/>
              </a:prstGeom>
            </p:spPr>
          </p:pic>
        </p:grpSp>
        <p:sp>
          <p:nvSpPr>
            <p:cNvPr id="52" name="Google Shape;2050;p79"/>
            <p:cNvSpPr/>
            <p:nvPr/>
          </p:nvSpPr>
          <p:spPr>
            <a:xfrm>
              <a:off x="165307" y="4245984"/>
              <a:ext cx="11694898" cy="862073"/>
            </a:xfrm>
            <a:prstGeom prst="roundRect">
              <a:avLst>
                <a:gd name="adj" fmla="val 16667"/>
              </a:avLst>
            </a:prstGeom>
            <a:noFill/>
            <a:ln w="38100" cap="flat" cmpd="sng">
              <a:solidFill>
                <a:srgbClr val="0070C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53" name="Google Shape;2051;p79"/>
            <p:cNvSpPr/>
            <p:nvPr/>
          </p:nvSpPr>
          <p:spPr>
            <a:xfrm>
              <a:off x="281966" y="2657783"/>
              <a:ext cx="2855546" cy="35169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latform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Services – STL CNP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54" name="Google Shape;1235;p73" descr="Image result for kubernetes icon"/>
            <p:cNvPicPr preferRelativeResize="0"/>
            <p:nvPr/>
          </p:nvPicPr>
          <p:blipFill rotWithShape="1">
            <a:blip r:embed="rId23">
              <a:alphaModFix/>
            </a:blip>
            <a:srcRect/>
            <a:stretch/>
          </p:blipFill>
          <p:spPr>
            <a:xfrm>
              <a:off x="4655712" y="4403954"/>
              <a:ext cx="375561" cy="27768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5" name="Google Shape;1236;p73"/>
            <p:cNvSpPr/>
            <p:nvPr/>
          </p:nvSpPr>
          <p:spPr>
            <a:xfrm>
              <a:off x="3895269" y="4710098"/>
              <a:ext cx="1896445" cy="276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Kubernetes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sp>
          <p:nvSpPr>
            <p:cNvPr id="56" name="Google Shape;1218;p73"/>
            <p:cNvSpPr/>
            <p:nvPr/>
          </p:nvSpPr>
          <p:spPr>
            <a:xfrm>
              <a:off x="5328174" y="4660801"/>
              <a:ext cx="1896445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Virtual</a:t>
              </a:r>
              <a:b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Networking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pic>
          <p:nvPicPr>
            <p:cNvPr id="57" name="Google Shape;1219;p73"/>
            <p:cNvPicPr preferRelativeResize="0"/>
            <p:nvPr/>
          </p:nvPicPr>
          <p:blipFill rotWithShape="1">
            <a:blip r:embed="rId24">
              <a:alphaModFix/>
            </a:blip>
            <a:srcRect/>
            <a:stretch/>
          </p:blipFill>
          <p:spPr>
            <a:xfrm>
              <a:off x="6166064" y="4411155"/>
              <a:ext cx="295615" cy="24571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8" name="Google Shape;1232;p73"/>
            <p:cNvPicPr preferRelativeResize="0"/>
            <p:nvPr/>
          </p:nvPicPr>
          <p:blipFill rotWithShape="1">
            <a:blip r:embed="rId25">
              <a:alphaModFix/>
            </a:blip>
            <a:srcRect/>
            <a:stretch/>
          </p:blipFill>
          <p:spPr>
            <a:xfrm>
              <a:off x="7579538" y="4313504"/>
              <a:ext cx="412104" cy="31961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9" name="Google Shape;1223;p73"/>
            <p:cNvSpPr/>
            <p:nvPr/>
          </p:nvSpPr>
          <p:spPr>
            <a:xfrm>
              <a:off x="6858497" y="4608842"/>
              <a:ext cx="1896037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App-workflow</a:t>
              </a:r>
              <a:b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attrocento Sans"/>
                  <a:ea typeface="Quattrocento Sans"/>
                  <a:cs typeface="Quattrocento Sans"/>
                  <a:sym typeface="Quattrocento Sans"/>
                </a:rPr>
                <a:t>Manager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Arial"/>
              </a:endParaRPr>
            </a:p>
          </p:txBody>
        </p:sp>
        <p:sp>
          <p:nvSpPr>
            <p:cNvPr id="60" name="Rectangle: Rounded Corners 4">
              <a:extLst>
                <a:ext uri="{FF2B5EF4-FFF2-40B4-BE49-F238E27FC236}">
                  <a16:creationId xmlns:a16="http://schemas.microsoft.com/office/drawing/2014/main" id="{2FAEB5E5-2D07-4DE6-9E10-BBBCFA620BA7}"/>
                </a:ext>
              </a:extLst>
            </p:cNvPr>
            <p:cNvSpPr/>
            <p:nvPr/>
          </p:nvSpPr>
          <p:spPr>
            <a:xfrm>
              <a:off x="2325702" y="1592092"/>
              <a:ext cx="1095049" cy="29419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igital </a:t>
              </a:r>
              <a:r>
                <a:rPr kumimoji="0" lang="en-US" sz="1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MarketPlac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1" name="Rectangle: Rounded Corners 78">
              <a:extLst>
                <a:ext uri="{FF2B5EF4-FFF2-40B4-BE49-F238E27FC236}">
                  <a16:creationId xmlns:a16="http://schemas.microsoft.com/office/drawing/2014/main" id="{1B17B372-4837-4C92-8BBC-CB63D7F4F077}"/>
                </a:ext>
              </a:extLst>
            </p:cNvPr>
            <p:cNvSpPr/>
            <p:nvPr/>
          </p:nvSpPr>
          <p:spPr>
            <a:xfrm>
              <a:off x="3354127" y="1582948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BSS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2" name="Rectangle: Rounded Corners 79">
              <a:extLst>
                <a:ext uri="{FF2B5EF4-FFF2-40B4-BE49-F238E27FC236}">
                  <a16:creationId xmlns:a16="http://schemas.microsoft.com/office/drawing/2014/main" id="{0A2C1EE6-B943-4EC5-B896-9C59563E0ABC}"/>
                </a:ext>
              </a:extLst>
            </p:cNvPr>
            <p:cNvSpPr/>
            <p:nvPr/>
          </p:nvSpPr>
          <p:spPr>
            <a:xfrm>
              <a:off x="2325702" y="1866337"/>
              <a:ext cx="977524" cy="20645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SP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8FFBD8A-CE7F-4183-A9F4-D81FB6BE82B0}"/>
                </a:ext>
              </a:extLst>
            </p:cNvPr>
            <p:cNvSpPr txBox="1"/>
            <p:nvPr/>
          </p:nvSpPr>
          <p:spPr>
            <a:xfrm>
              <a:off x="4322715" y="2405358"/>
              <a:ext cx="198240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Telco Network Applications </a:t>
              </a: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(VNFs/CNFs)</a:t>
              </a:r>
            </a:p>
          </p:txBody>
        </p:sp>
        <p:sp>
          <p:nvSpPr>
            <p:cNvPr id="64" name="Rectangle: Rounded Corners 81">
              <a:extLst>
                <a:ext uri="{FF2B5EF4-FFF2-40B4-BE49-F238E27FC236}">
                  <a16:creationId xmlns:a16="http://schemas.microsoft.com/office/drawing/2014/main" id="{A5741D29-A8EC-4FFF-AC1F-630FF3940980}"/>
                </a:ext>
              </a:extLst>
            </p:cNvPr>
            <p:cNvSpPr/>
            <p:nvPr/>
          </p:nvSpPr>
          <p:spPr>
            <a:xfrm>
              <a:off x="4413004" y="1606149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PCRF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5" name="Rectangle: Rounded Corners 82">
              <a:extLst>
                <a:ext uri="{FF2B5EF4-FFF2-40B4-BE49-F238E27FC236}">
                  <a16:creationId xmlns:a16="http://schemas.microsoft.com/office/drawing/2014/main" id="{BCCD3D7F-1A7B-4178-BDEB-36D08007B66A}"/>
                </a:ext>
              </a:extLst>
            </p:cNvPr>
            <p:cNvSpPr/>
            <p:nvPr/>
          </p:nvSpPr>
          <p:spPr>
            <a:xfrm>
              <a:off x="5251927" y="1614336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5G PCF</a:t>
              </a:r>
            </a:p>
          </p:txBody>
        </p:sp>
        <p:sp>
          <p:nvSpPr>
            <p:cNvPr id="66" name="Rectangle: Rounded Corners 83">
              <a:extLst>
                <a:ext uri="{FF2B5EF4-FFF2-40B4-BE49-F238E27FC236}">
                  <a16:creationId xmlns:a16="http://schemas.microsoft.com/office/drawing/2014/main" id="{2CD8159C-1DA3-493B-9FCE-D1B4E5B6D2A3}"/>
                </a:ext>
              </a:extLst>
            </p:cNvPr>
            <p:cNvSpPr/>
            <p:nvPr/>
          </p:nvSpPr>
          <p:spPr>
            <a:xfrm>
              <a:off x="3308483" y="2097397"/>
              <a:ext cx="846675" cy="24827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…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61737EE-2061-4195-9F67-DC7F4164EE6A}"/>
                </a:ext>
              </a:extLst>
            </p:cNvPr>
            <p:cNvSpPr txBox="1"/>
            <p:nvPr/>
          </p:nvSpPr>
          <p:spPr>
            <a:xfrm>
              <a:off x="7350511" y="2427695"/>
              <a:ext cx="332577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Big Data / Data Analytics</a:t>
              </a:r>
            </a:p>
          </p:txBody>
        </p:sp>
        <p:sp>
          <p:nvSpPr>
            <p:cNvPr id="68" name="Rectangle: Rounded Corners 85">
              <a:extLst>
                <a:ext uri="{FF2B5EF4-FFF2-40B4-BE49-F238E27FC236}">
                  <a16:creationId xmlns:a16="http://schemas.microsoft.com/office/drawing/2014/main" id="{820C677B-8A8E-4030-96D3-57CF83C71B97}"/>
                </a:ext>
              </a:extLst>
            </p:cNvPr>
            <p:cNvSpPr/>
            <p:nvPr/>
          </p:nvSpPr>
          <p:spPr>
            <a:xfrm>
              <a:off x="8151987" y="1613446"/>
              <a:ext cx="886186" cy="20630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Intellza</a:t>
              </a:r>
            </a:p>
          </p:txBody>
        </p:sp>
        <p:sp>
          <p:nvSpPr>
            <p:cNvPr id="69" name="Rectangle: Rounded Corners 86">
              <a:extLst>
                <a:ext uri="{FF2B5EF4-FFF2-40B4-BE49-F238E27FC236}">
                  <a16:creationId xmlns:a16="http://schemas.microsoft.com/office/drawing/2014/main" id="{AE457AD5-1508-4F0A-8F94-CBCFB6DB15F7}"/>
                </a:ext>
              </a:extLst>
            </p:cNvPr>
            <p:cNvSpPr/>
            <p:nvPr/>
          </p:nvSpPr>
          <p:spPr>
            <a:xfrm>
              <a:off x="9075654" y="1605017"/>
              <a:ext cx="859143" cy="20602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IPLMS</a:t>
              </a:r>
            </a:p>
          </p:txBody>
        </p:sp>
        <p:sp>
          <p:nvSpPr>
            <p:cNvPr id="70" name="Rectangle: Rounded Corners 87">
              <a:extLst>
                <a:ext uri="{FF2B5EF4-FFF2-40B4-BE49-F238E27FC236}">
                  <a16:creationId xmlns:a16="http://schemas.microsoft.com/office/drawing/2014/main" id="{3179EFD2-E659-474F-A59F-E80BD6C0F307}"/>
                </a:ext>
              </a:extLst>
            </p:cNvPr>
            <p:cNvSpPr/>
            <p:nvPr/>
          </p:nvSpPr>
          <p:spPr>
            <a:xfrm>
              <a:off x="8108521" y="1877604"/>
              <a:ext cx="964447" cy="25926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Mediation</a:t>
              </a:r>
            </a:p>
          </p:txBody>
        </p:sp>
        <p:sp>
          <p:nvSpPr>
            <p:cNvPr id="71" name="Rectangle: Rounded Corners 88">
              <a:extLst>
                <a:ext uri="{FF2B5EF4-FFF2-40B4-BE49-F238E27FC236}">
                  <a16:creationId xmlns:a16="http://schemas.microsoft.com/office/drawing/2014/main" id="{97B6F152-E636-4068-B15C-8517696763A6}"/>
                </a:ext>
              </a:extLst>
            </p:cNvPr>
            <p:cNvSpPr/>
            <p:nvPr/>
          </p:nvSpPr>
          <p:spPr>
            <a:xfrm>
              <a:off x="9105853" y="1877081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CGF/CGNAT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59E9FD9-EED1-4A42-8CA6-7E0D7928B6DB}"/>
                </a:ext>
              </a:extLst>
            </p:cNvPr>
            <p:cNvSpPr txBox="1"/>
            <p:nvPr/>
          </p:nvSpPr>
          <p:spPr>
            <a:xfrm>
              <a:off x="2224425" y="2434569"/>
              <a:ext cx="1982405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6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Calibri"/>
                </a:rPr>
                <a:t>BSS/OSS (CNFs)</a:t>
              </a:r>
              <a:endPara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3" name="Rectangle: Rounded Corners 90">
              <a:extLst>
                <a:ext uri="{FF2B5EF4-FFF2-40B4-BE49-F238E27FC236}">
                  <a16:creationId xmlns:a16="http://schemas.microsoft.com/office/drawing/2014/main" id="{799F7F12-25D9-43E7-A21C-38EFCD2BAE5E}"/>
                </a:ext>
              </a:extLst>
            </p:cNvPr>
            <p:cNvSpPr/>
            <p:nvPr/>
          </p:nvSpPr>
          <p:spPr>
            <a:xfrm>
              <a:off x="4415778" y="1911067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WiFi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B48B6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74" name="Rectangle: Rounded Corners 91">
              <a:extLst>
                <a:ext uri="{FF2B5EF4-FFF2-40B4-BE49-F238E27FC236}">
                  <a16:creationId xmlns:a16="http://schemas.microsoft.com/office/drawing/2014/main" id="{FE2D861E-6429-4044-B944-E6419A6AEDB9}"/>
                </a:ext>
              </a:extLst>
            </p:cNvPr>
            <p:cNvSpPr/>
            <p:nvPr/>
          </p:nvSpPr>
          <p:spPr>
            <a:xfrm>
              <a:off x="5274667" y="1907347"/>
              <a:ext cx="810367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…</a:t>
              </a:r>
            </a:p>
          </p:txBody>
        </p:sp>
        <p:sp>
          <p:nvSpPr>
            <p:cNvPr id="75" name="Rectangle: Rounded Corners 92">
              <a:extLst>
                <a:ext uri="{FF2B5EF4-FFF2-40B4-BE49-F238E27FC236}">
                  <a16:creationId xmlns:a16="http://schemas.microsoft.com/office/drawing/2014/main" id="{E207605C-5E21-4160-80CF-68848B77D81D}"/>
                </a:ext>
              </a:extLst>
            </p:cNvPr>
            <p:cNvSpPr/>
            <p:nvPr/>
          </p:nvSpPr>
          <p:spPr>
            <a:xfrm>
              <a:off x="3331782" y="1858027"/>
              <a:ext cx="862215" cy="22031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dPCC</a:t>
              </a:r>
            </a:p>
          </p:txBody>
        </p:sp>
        <p:sp>
          <p:nvSpPr>
            <p:cNvPr id="76" name="Rectangle: Rounded Corners 93">
              <a:extLst>
                <a:ext uri="{FF2B5EF4-FFF2-40B4-BE49-F238E27FC236}">
                  <a16:creationId xmlns:a16="http://schemas.microsoft.com/office/drawing/2014/main" id="{2D425F8B-ED72-4C5C-BE54-7A4F723BE297}"/>
                </a:ext>
              </a:extLst>
            </p:cNvPr>
            <p:cNvSpPr/>
            <p:nvPr/>
          </p:nvSpPr>
          <p:spPr>
            <a:xfrm>
              <a:off x="2355841" y="2097200"/>
              <a:ext cx="917101" cy="23756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317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10160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ts val="2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1B48B6"/>
                  </a:solidFill>
                  <a:effectLst/>
                  <a:uLnTx/>
                  <a:uFillTx/>
                  <a:latin typeface="Calibri"/>
                  <a:cs typeface="Calibri"/>
                </a:rPr>
                <a:t>5G CHF</a:t>
              </a:r>
            </a:p>
          </p:txBody>
        </p:sp>
        <p:sp>
          <p:nvSpPr>
            <p:cNvPr id="77" name="Google Shape;2051;p79"/>
            <p:cNvSpPr/>
            <p:nvPr/>
          </p:nvSpPr>
          <p:spPr>
            <a:xfrm>
              <a:off x="317637" y="4204965"/>
              <a:ext cx="2819875" cy="35169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8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Calibri"/>
                </a:rPr>
                <a:t>PaaS – STL CNP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343" y="3125736"/>
              <a:ext cx="763521" cy="34358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325" y="3004387"/>
              <a:ext cx="534433" cy="752165"/>
            </a:xfrm>
            <a:prstGeom prst="rect">
              <a:avLst/>
            </a:prstGeom>
          </p:spPr>
        </p:pic>
        <p:pic>
          <p:nvPicPr>
            <p:cNvPr id="80" name="Picture 2" descr="RDM: A Redis Desktop Administration Chida | Ubunlog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6677" y="3316676"/>
              <a:ext cx="867253" cy="3197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 80"/>
            <p:cNvSpPr/>
            <p:nvPr/>
          </p:nvSpPr>
          <p:spPr>
            <a:xfrm>
              <a:off x="5203458" y="3778692"/>
              <a:ext cx="1319592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ODA Canvas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Services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41461" y="3896550"/>
              <a:ext cx="57900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mpon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916991" y="3896551"/>
              <a:ext cx="5084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Securit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5392521" y="3896552"/>
              <a:ext cx="5084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API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ntroll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5765662" y="3896556"/>
              <a:ext cx="71045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Component CR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0121D"/>
                  </a:solidFill>
                  <a:effectLst/>
                  <a:uLnTx/>
                  <a:uFillTx/>
                  <a:latin typeface="Calibri"/>
                  <a:cs typeface="Calibri"/>
                </a:rPr>
                <a:t>Webhook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9469550" y="3100349"/>
            <a:ext cx="565941" cy="13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18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852" y="320039"/>
            <a:ext cx="11535947" cy="549275"/>
          </a:xfrm>
        </p:spPr>
        <p:txBody>
          <a:bodyPr>
            <a:normAutofit/>
          </a:bodyPr>
          <a:lstStyle/>
          <a:p>
            <a:r>
              <a:rPr lang="en-US" dirty="0"/>
              <a:t>STL dPCC </a:t>
            </a:r>
            <a:r>
              <a:rPr lang="en-US" dirty="0" smtClean="0"/>
              <a:t>:  Product Rating, Service Balance Mgmt Components</a:t>
            </a:r>
            <a:endParaRPr lang="en-US" dirty="0"/>
          </a:p>
        </p:txBody>
      </p:sp>
      <p:sp>
        <p:nvSpPr>
          <p:cNvPr id="5" name="Hexagon 4"/>
          <p:cNvSpPr/>
          <p:nvPr/>
        </p:nvSpPr>
        <p:spPr>
          <a:xfrm>
            <a:off x="4580984" y="6637719"/>
            <a:ext cx="265471" cy="213405"/>
          </a:xfrm>
          <a:prstGeom prst="hexagon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/>
          <p:cNvSpPr txBox="1"/>
          <p:nvPr/>
        </p:nvSpPr>
        <p:spPr>
          <a:xfrm>
            <a:off x="4755195" y="6650546"/>
            <a:ext cx="159480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smtClean="0"/>
              <a:t> Modules of STL dPCC</a:t>
            </a:r>
            <a:endParaRPr lang="en-IN" sz="9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8450" y="784148"/>
            <a:ext cx="8134350" cy="5829300"/>
          </a:xfrm>
          <a:prstGeom prst="rect">
            <a:avLst/>
          </a:prstGeom>
        </p:spPr>
      </p:pic>
      <p:sp>
        <p:nvSpPr>
          <p:cNvPr id="9" name="Text Placeholder 2"/>
          <p:cNvSpPr txBox="1">
            <a:spLocks/>
          </p:cNvSpPr>
          <p:nvPr/>
        </p:nvSpPr>
        <p:spPr>
          <a:xfrm>
            <a:off x="391573" y="866091"/>
            <a:ext cx="3804526" cy="4260900"/>
          </a:xfrm>
          <a:prstGeom prst="rect">
            <a:avLst/>
          </a:prstGeom>
        </p:spPr>
        <p:txBody>
          <a:bodyPr/>
          <a:lstStyle>
            <a:lvl1pPr marL="360363" indent="-360363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lang="en-US" sz="24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0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lang="en-GB" sz="16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dirty="0" smtClean="0"/>
              <a:t>STL Digital Policy Control &amp; Charging (dPCC) enables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4G PCC (dPCC-</a:t>
            </a:r>
            <a:r>
              <a:rPr lang="en-US" sz="1000" dirty="0" err="1" smtClean="0"/>
              <a:t>Netvertex</a:t>
            </a:r>
            <a:r>
              <a:rPr lang="en-US" sz="1000" dirty="0" smtClean="0"/>
              <a:t> component name) and 5G PCF (PCF-</a:t>
            </a:r>
            <a:r>
              <a:rPr lang="en-US" sz="1000" dirty="0" err="1" smtClean="0"/>
              <a:t>Netvertex</a:t>
            </a:r>
            <a:r>
              <a:rPr lang="en-US" sz="1000" dirty="0" smtClean="0"/>
              <a:t> component nam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Product Rating and Service Balance Management (TMFC013) ODA Componen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MFC013 </a:t>
            </a:r>
            <a:r>
              <a:rPr lang="en-US" sz="1000" dirty="0"/>
              <a:t>Service Balance </a:t>
            </a:r>
            <a:r>
              <a:rPr lang="en-US" sz="1000" dirty="0" smtClean="0"/>
              <a:t>Management as STL TMF Golden Component for Proof of Concept</a:t>
            </a:r>
            <a:endParaRPr lang="en-US" sz="1000" dirty="0"/>
          </a:p>
          <a:p>
            <a:pPr marL="1371600" lvl="2" indent="-171450"/>
            <a:r>
              <a:rPr lang="en-US" sz="800" dirty="0" smtClean="0"/>
              <a:t>TMF Certified STL TMF </a:t>
            </a:r>
            <a:r>
              <a:rPr lang="en-US" sz="800" dirty="0"/>
              <a:t>654 Prepay Balance Management API as Exposed </a:t>
            </a:r>
            <a:r>
              <a:rPr lang="en-US" sz="800" dirty="0" smtClean="0"/>
              <a:t>API for Golden Component</a:t>
            </a:r>
          </a:p>
          <a:p>
            <a:r>
              <a:rPr lang="en-US" sz="1300" dirty="0" smtClean="0"/>
              <a:t>STL dPCC</a:t>
            </a:r>
            <a:r>
              <a:rPr lang="en-US" sz="1300" dirty="0"/>
              <a:t> </a:t>
            </a:r>
            <a:r>
              <a:rPr lang="en-US" sz="1300" dirty="0" smtClean="0"/>
              <a:t>and STL PCF on ODA Canvas over STL Cloud Native Platform Runtime environment</a:t>
            </a:r>
          </a:p>
          <a:p>
            <a:r>
              <a:rPr lang="en-US" sz="1300" dirty="0" smtClean="0"/>
              <a:t>ODA Component Envelopes definition for STL dPCC and STL PCF</a:t>
            </a:r>
          </a:p>
          <a:p>
            <a:r>
              <a:rPr lang="en-US" sz="1300" dirty="0" smtClean="0"/>
              <a:t>Successful L1 and L2 Static and Dynamic Tests (with STL dPCC Service Balance Mgt ODA Component for Proof of Concept)</a:t>
            </a:r>
          </a:p>
          <a:p>
            <a:r>
              <a:rPr lang="en-US" sz="1300" dirty="0" smtClean="0"/>
              <a:t>Demo URL for Compliance of STL dPCC to ODA Canvas L1, L2 Tests </a:t>
            </a:r>
            <a:r>
              <a:rPr lang="en-US" sz="1300" dirty="0"/>
              <a:t>: </a:t>
            </a:r>
            <a:r>
              <a:rPr lang="en-US" sz="1300" dirty="0">
                <a:hlinkClick r:id="rId5"/>
              </a:rPr>
              <a:t>https://</a:t>
            </a:r>
            <a:r>
              <a:rPr lang="en-US" sz="1300" dirty="0" smtClean="0">
                <a:hlinkClick r:id="rId5"/>
              </a:rPr>
              <a:t>drive.google.com/file/d/1klPsuYGLWbbapEh88EfDwVKXKz3OibK5/view</a:t>
            </a:r>
            <a:r>
              <a:rPr lang="en-US" sz="1300" dirty="0" smtClean="0"/>
              <a:t> </a:t>
            </a: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47234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6703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M Forum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A2746"/>
      </a:accent1>
      <a:accent2>
        <a:srgbClr val="E1141E"/>
      </a:accent2>
      <a:accent3>
        <a:srgbClr val="989898"/>
      </a:accent3>
      <a:accent4>
        <a:srgbClr val="D2D5DA"/>
      </a:accent4>
      <a:accent5>
        <a:srgbClr val="F3F3F5"/>
      </a:accent5>
      <a:accent6>
        <a:srgbClr val="1A274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TM FORUM DTW">
      <a:dk1>
        <a:srgbClr val="29313B"/>
      </a:dk1>
      <a:lt1>
        <a:sysClr val="window" lastClr="FFFFFF"/>
      </a:lt1>
      <a:dk2>
        <a:srgbClr val="29313B"/>
      </a:dk2>
      <a:lt2>
        <a:srgbClr val="FFFFFF"/>
      </a:lt2>
      <a:accent1>
        <a:srgbClr val="192746"/>
      </a:accent1>
      <a:accent2>
        <a:srgbClr val="34AADE"/>
      </a:accent2>
      <a:accent3>
        <a:srgbClr val="BDE2EC"/>
      </a:accent3>
      <a:accent4>
        <a:srgbClr val="E10E1F"/>
      </a:accent4>
      <a:accent5>
        <a:srgbClr val="989899"/>
      </a:accent5>
      <a:accent6>
        <a:srgbClr val="D3D5DB"/>
      </a:accent6>
      <a:hlink>
        <a:srgbClr val="42ACE1"/>
      </a:hlink>
      <a:folHlink>
        <a:srgbClr val="208FC6"/>
      </a:folHlink>
    </a:clrScheme>
    <a:fontScheme name="TM For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white_theme_v1" id="{58F19D77-5816-E04A-9191-044213DD5832}" vid="{FD3203AA-40CA-F944-9908-AFFD7879A25F}"/>
    </a:ext>
  </a:extLst>
</a:theme>
</file>

<file path=ppt/theme/theme4.xml><?xml version="1.0" encoding="utf-8"?>
<a:theme xmlns:a="http://schemas.openxmlformats.org/drawingml/2006/main" name="Whit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TL_template_white_theme_v1" id="{58F19D77-5816-E04A-9191-044213DD5832}" vid="{FD3203AA-40CA-F944-9908-AFFD7879A25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825CCB81CC3145876FFCE77B4373B5" ma:contentTypeVersion="15" ma:contentTypeDescription="Create a new document." ma:contentTypeScope="" ma:versionID="168c3c6baec1829aa923dabc78bf2d80">
  <xsd:schema xmlns:xsd="http://www.w3.org/2001/XMLSchema" xmlns:xs="http://www.w3.org/2001/XMLSchema" xmlns:p="http://schemas.microsoft.com/office/2006/metadata/properties" xmlns:ns2="316e629a-3d22-4e03-b8cf-7974236374c6" xmlns:ns3="3927776b-9c3b-4061-bacb-3d07ac85e0aa" targetNamespace="http://schemas.microsoft.com/office/2006/metadata/properties" ma:root="true" ma:fieldsID="9fe9872398a9f7dad9ecce5134cf494e" ns2:_="" ns3:_="">
    <xsd:import namespace="316e629a-3d22-4e03-b8cf-7974236374c6"/>
    <xsd:import namespace="3927776b-9c3b-4061-bacb-3d07ac85e0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6e629a-3d22-4e03-b8cf-7974236374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d6c21206-e962-4e70-b7c6-9737299e2fc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7776b-9c3b-4061-bacb-3d07ac85e0a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21037ca7-734e-439b-9824-f22206fabadf}" ma:internalName="TaxCatchAll" ma:showField="CatchAllData" ma:web="3927776b-9c3b-4061-bacb-3d07ac85e0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927776b-9c3b-4061-bacb-3d07ac85e0aa" xsi:nil="true"/>
    <lcf76f155ced4ddcb4097134ff3c332f xmlns="316e629a-3d22-4e03-b8cf-7974236374c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F2BEB91-E903-4C69-B085-E7319B5003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6e629a-3d22-4e03-b8cf-7974236374c6"/>
    <ds:schemaRef ds:uri="3927776b-9c3b-4061-bacb-3d07ac85e0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A6D813-78D9-4CDA-8326-CF39623EFC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17158D-FCB1-4464-8292-FDB2CFD2DD69}">
  <ds:schemaRefs>
    <ds:schemaRef ds:uri="3927776b-9c3b-4061-bacb-3d07ac85e0aa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316e629a-3d22-4e03-b8cf-7974236374c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-60569_TM Forum 2020 Template</Template>
  <TotalTime>3958</TotalTime>
  <Words>453</Words>
  <Application>Microsoft Office PowerPoint</Application>
  <PresentationFormat>Widescreen</PresentationFormat>
  <Paragraphs>77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Calibri</vt:lpstr>
      <vt:lpstr>Calibri Light</vt:lpstr>
      <vt:lpstr>Courier New</vt:lpstr>
      <vt:lpstr>Gotham Medium</vt:lpstr>
      <vt:lpstr>Gotham Narrow Black</vt:lpstr>
      <vt:lpstr>Quattrocento Sans</vt:lpstr>
      <vt:lpstr>1_Office Theme</vt:lpstr>
      <vt:lpstr>Office Theme</vt:lpstr>
      <vt:lpstr>1_White Theme</vt:lpstr>
      <vt:lpstr>White Theme</vt:lpstr>
      <vt:lpstr>think-cell Slide</vt:lpstr>
      <vt:lpstr>PowerPoint Presentation</vt:lpstr>
      <vt:lpstr>Agenda</vt:lpstr>
      <vt:lpstr>PowerPoint Presentation</vt:lpstr>
      <vt:lpstr>ODA Canvas on STL Cloud Native Platform (CNP) for Private Telco Clouds</vt:lpstr>
      <vt:lpstr>STL dPCC :  Product Rating, Service Balance Mgmt Compon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here</dc:title>
  <dc:subject>&lt;Event name here&gt;</dc:subject>
  <dc:creator>David Andrews</dc:creator>
  <cp:lastModifiedBy>Kishore Rajasekharuni</cp:lastModifiedBy>
  <cp:revision>91</cp:revision>
  <dcterms:created xsi:type="dcterms:W3CDTF">2020-07-10T18:44:05Z</dcterms:created>
  <dcterms:modified xsi:type="dcterms:W3CDTF">2022-12-13T12:0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4ED8B42F49B448A65E68BB65E2BFEB</vt:lpwstr>
  </property>
  <property fmtid="{D5CDD505-2E9C-101B-9397-08002B2CF9AE}" pid="3" name="MediaServiceImageTags">
    <vt:lpwstr/>
  </property>
</Properties>
</file>